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4276" r:id="rId5"/>
  </p:sldMasterIdLst>
  <p:notesMasterIdLst>
    <p:notesMasterId r:id="rId34"/>
  </p:notesMasterIdLst>
  <p:handoutMasterIdLst>
    <p:handoutMasterId r:id="rId35"/>
  </p:handoutMasterIdLst>
  <p:sldIdLst>
    <p:sldId id="381" r:id="rId6"/>
    <p:sldId id="353" r:id="rId7"/>
    <p:sldId id="398" r:id="rId8"/>
    <p:sldId id="399" r:id="rId9"/>
    <p:sldId id="400" r:id="rId10"/>
    <p:sldId id="401" r:id="rId11"/>
    <p:sldId id="402" r:id="rId12"/>
    <p:sldId id="403" r:id="rId13"/>
    <p:sldId id="404" r:id="rId14"/>
    <p:sldId id="405" r:id="rId15"/>
    <p:sldId id="378" r:id="rId16"/>
    <p:sldId id="408" r:id="rId17"/>
    <p:sldId id="392" r:id="rId18"/>
    <p:sldId id="407" r:id="rId19"/>
    <p:sldId id="393" r:id="rId20"/>
    <p:sldId id="394" r:id="rId21"/>
    <p:sldId id="406" r:id="rId22"/>
    <p:sldId id="397" r:id="rId23"/>
    <p:sldId id="409" r:id="rId24"/>
    <p:sldId id="410" r:id="rId25"/>
    <p:sldId id="411" r:id="rId26"/>
    <p:sldId id="412" r:id="rId27"/>
    <p:sldId id="413" r:id="rId28"/>
    <p:sldId id="417" r:id="rId29"/>
    <p:sldId id="418" r:id="rId30"/>
    <p:sldId id="414" r:id="rId31"/>
    <p:sldId id="415" r:id="rId32"/>
    <p:sldId id="351"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1420" dt="2020-10-08T10:01:22.099"/>
    <p1510:client id="{6CC4196D-0650-259D-424A-4C999C3C0691}" v="13" dt="2020-10-13T11:27:43.083"/>
    <p1510:client id="{8D8E432B-F5E3-87BB-794A-A2A421DD9047}" v="8" dt="2020-08-29T03:24:30.979"/>
    <p1510:client id="{E501E46D-72E9-AB4D-0AEF-5C1EC218637F}" v="209" dt="2020-10-19T07:59:49.637"/>
    <p1510:client id="{EAB04484-8899-2CA0-E6C6-2684FA95C21D}" v="1117" dt="2020-10-07T11:01:36.942"/>
    <p1510:client id="{EF85A60B-3623-31E6-8F7D-E25E6159EB15}" v="4" dt="2020-10-19T10:39:49.6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5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tha Punithavelu" userId="S::anithap@maveric-systems.com::5abe8dd9-e5a1-48dd-b47a-563274365dd7" providerId="AD" clId="Web-{6CC4196D-0650-259D-424A-4C999C3C0691}"/>
    <pc:docChg chg="modSld">
      <pc:chgData name="Anitha Punithavelu" userId="S::anithap@maveric-systems.com::5abe8dd9-e5a1-48dd-b47a-563274365dd7" providerId="AD" clId="Web-{6CC4196D-0650-259D-424A-4C999C3C0691}" dt="2020-10-13T11:27:43.083" v="12" actId="1076"/>
      <pc:docMkLst>
        <pc:docMk/>
      </pc:docMkLst>
      <pc:sldChg chg="modSp">
        <pc:chgData name="Anitha Punithavelu" userId="S::anithap@maveric-systems.com::5abe8dd9-e5a1-48dd-b47a-563274365dd7" providerId="AD" clId="Web-{6CC4196D-0650-259D-424A-4C999C3C0691}" dt="2020-10-13T11:26:12.005" v="1" actId="1076"/>
        <pc:sldMkLst>
          <pc:docMk/>
          <pc:sldMk cId="980249464" sldId="353"/>
        </pc:sldMkLst>
        <pc:spChg chg="mod">
          <ac:chgData name="Anitha Punithavelu" userId="S::anithap@maveric-systems.com::5abe8dd9-e5a1-48dd-b47a-563274365dd7" providerId="AD" clId="Web-{6CC4196D-0650-259D-424A-4C999C3C0691}" dt="2020-10-13T11:26:12.005" v="1" actId="1076"/>
          <ac:spMkLst>
            <pc:docMk/>
            <pc:sldMk cId="980249464" sldId="353"/>
            <ac:spMk id="2" creationId="{DE7F924B-C620-4411-816E-07FF660B406C}"/>
          </ac:spMkLst>
        </pc:spChg>
      </pc:sldChg>
      <pc:sldChg chg="modSp">
        <pc:chgData name="Anitha Punithavelu" userId="S::anithap@maveric-systems.com::5abe8dd9-e5a1-48dd-b47a-563274365dd7" providerId="AD" clId="Web-{6CC4196D-0650-259D-424A-4C999C3C0691}" dt="2020-10-13T11:26:39.583" v="5" actId="1076"/>
        <pc:sldMkLst>
          <pc:docMk/>
          <pc:sldMk cId="350775513" sldId="355"/>
        </pc:sldMkLst>
        <pc:spChg chg="mod">
          <ac:chgData name="Anitha Punithavelu" userId="S::anithap@maveric-systems.com::5abe8dd9-e5a1-48dd-b47a-563274365dd7" providerId="AD" clId="Web-{6CC4196D-0650-259D-424A-4C999C3C0691}" dt="2020-10-13T11:26:39.583" v="5" actId="1076"/>
          <ac:spMkLst>
            <pc:docMk/>
            <pc:sldMk cId="350775513" sldId="355"/>
            <ac:spMk id="2" creationId="{7CB9D666-6987-4AAA-9EDE-74105B07065D}"/>
          </ac:spMkLst>
        </pc:spChg>
      </pc:sldChg>
      <pc:sldChg chg="modSp">
        <pc:chgData name="Anitha Punithavelu" userId="S::anithap@maveric-systems.com::5abe8dd9-e5a1-48dd-b47a-563274365dd7" providerId="AD" clId="Web-{6CC4196D-0650-259D-424A-4C999C3C0691}" dt="2020-10-13T11:27:01.021" v="8" actId="1076"/>
        <pc:sldMkLst>
          <pc:docMk/>
          <pc:sldMk cId="2025552820" sldId="362"/>
        </pc:sldMkLst>
        <pc:spChg chg="mod">
          <ac:chgData name="Anitha Punithavelu" userId="S::anithap@maveric-systems.com::5abe8dd9-e5a1-48dd-b47a-563274365dd7" providerId="AD" clId="Web-{6CC4196D-0650-259D-424A-4C999C3C0691}" dt="2020-10-13T11:27:01.021" v="8" actId="1076"/>
          <ac:spMkLst>
            <pc:docMk/>
            <pc:sldMk cId="2025552820" sldId="362"/>
            <ac:spMk id="6" creationId="{64201533-4AAD-4073-B887-C06DD847C22B}"/>
          </ac:spMkLst>
        </pc:spChg>
      </pc:sldChg>
      <pc:sldChg chg="modSp">
        <pc:chgData name="Anitha Punithavelu" userId="S::anithap@maveric-systems.com::5abe8dd9-e5a1-48dd-b47a-563274365dd7" providerId="AD" clId="Web-{6CC4196D-0650-259D-424A-4C999C3C0691}" dt="2020-10-13T11:26:53.833" v="7" actId="1076"/>
        <pc:sldMkLst>
          <pc:docMk/>
          <pc:sldMk cId="2263431109" sldId="365"/>
        </pc:sldMkLst>
        <pc:spChg chg="mod">
          <ac:chgData name="Anitha Punithavelu" userId="S::anithap@maveric-systems.com::5abe8dd9-e5a1-48dd-b47a-563274365dd7" providerId="AD" clId="Web-{6CC4196D-0650-259D-424A-4C999C3C0691}" dt="2020-10-13T11:26:53.833" v="7" actId="1076"/>
          <ac:spMkLst>
            <pc:docMk/>
            <pc:sldMk cId="2263431109" sldId="365"/>
            <ac:spMk id="2" creationId="{7CB9D666-6987-4AAA-9EDE-74105B07065D}"/>
          </ac:spMkLst>
        </pc:spChg>
      </pc:sldChg>
      <pc:sldChg chg="modSp">
        <pc:chgData name="Anitha Punithavelu" userId="S::anithap@maveric-systems.com::5abe8dd9-e5a1-48dd-b47a-563274365dd7" providerId="AD" clId="Web-{6CC4196D-0650-259D-424A-4C999C3C0691}" dt="2020-10-13T11:26:19.833" v="2" actId="1076"/>
        <pc:sldMkLst>
          <pc:docMk/>
          <pc:sldMk cId="2276678590" sldId="375"/>
        </pc:sldMkLst>
        <pc:spChg chg="mod">
          <ac:chgData name="Anitha Punithavelu" userId="S::anithap@maveric-systems.com::5abe8dd9-e5a1-48dd-b47a-563274365dd7" providerId="AD" clId="Web-{6CC4196D-0650-259D-424A-4C999C3C0691}" dt="2020-10-13T11:26:19.833" v="2" actId="1076"/>
          <ac:spMkLst>
            <pc:docMk/>
            <pc:sldMk cId="2276678590" sldId="375"/>
            <ac:spMk id="2" creationId="{DE7F924B-C620-4411-816E-07FF660B406C}"/>
          </ac:spMkLst>
        </pc:spChg>
      </pc:sldChg>
      <pc:sldChg chg="delSp">
        <pc:chgData name="Anitha Punithavelu" userId="S::anithap@maveric-systems.com::5abe8dd9-e5a1-48dd-b47a-563274365dd7" providerId="AD" clId="Web-{6CC4196D-0650-259D-424A-4C999C3C0691}" dt="2020-10-13T11:26:04.957" v="0"/>
        <pc:sldMkLst>
          <pc:docMk/>
          <pc:sldMk cId="2527311594" sldId="381"/>
        </pc:sldMkLst>
        <pc:spChg chg="del">
          <ac:chgData name="Anitha Punithavelu" userId="S::anithap@maveric-systems.com::5abe8dd9-e5a1-48dd-b47a-563274365dd7" providerId="AD" clId="Web-{6CC4196D-0650-259D-424A-4C999C3C0691}" dt="2020-10-13T11:26:04.957" v="0"/>
          <ac:spMkLst>
            <pc:docMk/>
            <pc:sldMk cId="2527311594" sldId="381"/>
            <ac:spMk id="6" creationId="{00000000-0000-0000-0000-000000000000}"/>
          </ac:spMkLst>
        </pc:spChg>
      </pc:sldChg>
      <pc:sldChg chg="modSp">
        <pc:chgData name="Anitha Punithavelu" userId="S::anithap@maveric-systems.com::5abe8dd9-e5a1-48dd-b47a-563274365dd7" providerId="AD" clId="Web-{6CC4196D-0650-259D-424A-4C999C3C0691}" dt="2020-10-13T11:26:26.583" v="3" actId="1076"/>
        <pc:sldMkLst>
          <pc:docMk/>
          <pc:sldMk cId="2610125523" sldId="382"/>
        </pc:sldMkLst>
        <pc:spChg chg="mod">
          <ac:chgData name="Anitha Punithavelu" userId="S::anithap@maveric-systems.com::5abe8dd9-e5a1-48dd-b47a-563274365dd7" providerId="AD" clId="Web-{6CC4196D-0650-259D-424A-4C999C3C0691}" dt="2020-10-13T11:26:26.583" v="3" actId="1076"/>
          <ac:spMkLst>
            <pc:docMk/>
            <pc:sldMk cId="2610125523" sldId="382"/>
            <ac:spMk id="2" creationId="{DE7F924B-C620-4411-816E-07FF660B406C}"/>
          </ac:spMkLst>
        </pc:spChg>
      </pc:sldChg>
      <pc:sldChg chg="modSp">
        <pc:chgData name="Anitha Punithavelu" userId="S::anithap@maveric-systems.com::5abe8dd9-e5a1-48dd-b47a-563274365dd7" providerId="AD" clId="Web-{6CC4196D-0650-259D-424A-4C999C3C0691}" dt="2020-10-13T11:26:46.286" v="6" actId="1076"/>
        <pc:sldMkLst>
          <pc:docMk/>
          <pc:sldMk cId="3167450862" sldId="383"/>
        </pc:sldMkLst>
        <pc:spChg chg="mod">
          <ac:chgData name="Anitha Punithavelu" userId="S::anithap@maveric-systems.com::5abe8dd9-e5a1-48dd-b47a-563274365dd7" providerId="AD" clId="Web-{6CC4196D-0650-259D-424A-4C999C3C0691}" dt="2020-10-13T11:26:46.286" v="6" actId="1076"/>
          <ac:spMkLst>
            <pc:docMk/>
            <pc:sldMk cId="3167450862" sldId="383"/>
            <ac:spMk id="2" creationId="{7CB9D666-6987-4AAA-9EDE-74105B07065D}"/>
          </ac:spMkLst>
        </pc:spChg>
      </pc:sldChg>
      <pc:sldChg chg="modSp">
        <pc:chgData name="Anitha Punithavelu" userId="S::anithap@maveric-systems.com::5abe8dd9-e5a1-48dd-b47a-563274365dd7" providerId="AD" clId="Web-{6CC4196D-0650-259D-424A-4C999C3C0691}" dt="2020-10-13T11:27:10.724" v="9" actId="1076"/>
        <pc:sldMkLst>
          <pc:docMk/>
          <pc:sldMk cId="3975699398" sldId="384"/>
        </pc:sldMkLst>
        <pc:spChg chg="mod">
          <ac:chgData name="Anitha Punithavelu" userId="S::anithap@maveric-systems.com::5abe8dd9-e5a1-48dd-b47a-563274365dd7" providerId="AD" clId="Web-{6CC4196D-0650-259D-424A-4C999C3C0691}" dt="2020-10-13T11:27:10.724" v="9" actId="1076"/>
          <ac:spMkLst>
            <pc:docMk/>
            <pc:sldMk cId="3975699398" sldId="384"/>
            <ac:spMk id="2" creationId="{BEE1822B-EF1D-42B8-ABA9-FA49F49FED04}"/>
          </ac:spMkLst>
        </pc:spChg>
      </pc:sldChg>
      <pc:sldChg chg="modSp">
        <pc:chgData name="Anitha Punithavelu" userId="S::anithap@maveric-systems.com::5abe8dd9-e5a1-48dd-b47a-563274365dd7" providerId="AD" clId="Web-{6CC4196D-0650-259D-424A-4C999C3C0691}" dt="2020-10-13T11:27:22.255" v="10" actId="1076"/>
        <pc:sldMkLst>
          <pc:docMk/>
          <pc:sldMk cId="2060814786" sldId="386"/>
        </pc:sldMkLst>
        <pc:spChg chg="mod">
          <ac:chgData name="Anitha Punithavelu" userId="S::anithap@maveric-systems.com::5abe8dd9-e5a1-48dd-b47a-563274365dd7" providerId="AD" clId="Web-{6CC4196D-0650-259D-424A-4C999C3C0691}" dt="2020-10-13T11:27:22.255" v="10" actId="1076"/>
          <ac:spMkLst>
            <pc:docMk/>
            <pc:sldMk cId="2060814786" sldId="386"/>
            <ac:spMk id="2" creationId="{BEE1822B-EF1D-42B8-ABA9-FA49F49FED04}"/>
          </ac:spMkLst>
        </pc:spChg>
      </pc:sldChg>
      <pc:sldChg chg="modSp">
        <pc:chgData name="Anitha Punithavelu" userId="S::anithap@maveric-systems.com::5abe8dd9-e5a1-48dd-b47a-563274365dd7" providerId="AD" clId="Web-{6CC4196D-0650-259D-424A-4C999C3C0691}" dt="2020-10-13T11:27:32.115" v="11" actId="1076"/>
        <pc:sldMkLst>
          <pc:docMk/>
          <pc:sldMk cId="1725555037" sldId="387"/>
        </pc:sldMkLst>
        <pc:spChg chg="mod">
          <ac:chgData name="Anitha Punithavelu" userId="S::anithap@maveric-systems.com::5abe8dd9-e5a1-48dd-b47a-563274365dd7" providerId="AD" clId="Web-{6CC4196D-0650-259D-424A-4C999C3C0691}" dt="2020-10-13T11:27:32.115" v="11" actId="1076"/>
          <ac:spMkLst>
            <pc:docMk/>
            <pc:sldMk cId="1725555037" sldId="387"/>
            <ac:spMk id="2" creationId="{C1B07ECB-00F1-4960-A5B0-52C03162FF26}"/>
          </ac:spMkLst>
        </pc:spChg>
      </pc:sldChg>
      <pc:sldChg chg="modSp">
        <pc:chgData name="Anitha Punithavelu" userId="S::anithap@maveric-systems.com::5abe8dd9-e5a1-48dd-b47a-563274365dd7" providerId="AD" clId="Web-{6CC4196D-0650-259D-424A-4C999C3C0691}" dt="2020-10-13T11:27:43.083" v="12" actId="1076"/>
        <pc:sldMkLst>
          <pc:docMk/>
          <pc:sldMk cId="1662309695" sldId="389"/>
        </pc:sldMkLst>
        <pc:spChg chg="mod">
          <ac:chgData name="Anitha Punithavelu" userId="S::anithap@maveric-systems.com::5abe8dd9-e5a1-48dd-b47a-563274365dd7" providerId="AD" clId="Web-{6CC4196D-0650-259D-424A-4C999C3C0691}" dt="2020-10-13T11:27:43.083" v="12" actId="1076"/>
          <ac:spMkLst>
            <pc:docMk/>
            <pc:sldMk cId="1662309695" sldId="389"/>
            <ac:spMk id="2" creationId="{EE1F392C-7565-4FDE-B101-DFF97D091BC1}"/>
          </ac:spMkLst>
        </pc:spChg>
      </pc:sldChg>
    </pc:docChg>
  </pc:docChgLst>
  <pc:docChgLst>
    <pc:chgData name="Rakesh Lakshmipathy" userId="S::rakeshl@maveric-systems.com::6050c502-d529-4eba-90b2-5e1eb16aa821" providerId="AD" clId="Web-{E501E46D-72E9-AB4D-0AEF-5C1EC218637F}"/>
    <pc:docChg chg="addSld delSld modSld">
      <pc:chgData name="Rakesh Lakshmipathy" userId="S::rakeshl@maveric-systems.com::6050c502-d529-4eba-90b2-5e1eb16aa821" providerId="AD" clId="Web-{E501E46D-72E9-AB4D-0AEF-5C1EC218637F}" dt="2020-10-19T07:59:49.637" v="171"/>
      <pc:docMkLst>
        <pc:docMk/>
      </pc:docMkLst>
      <pc:sldChg chg="modSp">
        <pc:chgData name="Rakesh Lakshmipathy" userId="S::rakeshl@maveric-systems.com::6050c502-d529-4eba-90b2-5e1eb16aa821" providerId="AD" clId="Web-{E501E46D-72E9-AB4D-0AEF-5C1EC218637F}" dt="2020-10-19T07:48:29.712" v="5" actId="20577"/>
        <pc:sldMkLst>
          <pc:docMk/>
          <pc:sldMk cId="980249464" sldId="353"/>
        </pc:sldMkLst>
        <pc:spChg chg="mod">
          <ac:chgData name="Rakesh Lakshmipathy" userId="S::rakeshl@maveric-systems.com::6050c502-d529-4eba-90b2-5e1eb16aa821" providerId="AD" clId="Web-{E501E46D-72E9-AB4D-0AEF-5C1EC218637F}" dt="2020-10-19T07:48:29.712" v="5" actId="20577"/>
          <ac:spMkLst>
            <pc:docMk/>
            <pc:sldMk cId="980249464" sldId="353"/>
            <ac:spMk id="2" creationId="{DE7F924B-C620-4411-816E-07FF660B406C}"/>
          </ac:spMkLst>
        </pc:spChg>
        <pc:spChg chg="mod">
          <ac:chgData name="Rakesh Lakshmipathy" userId="S::rakeshl@maveric-systems.com::6050c502-d529-4eba-90b2-5e1eb16aa821" providerId="AD" clId="Web-{E501E46D-72E9-AB4D-0AEF-5C1EC218637F}" dt="2020-10-19T07:48:18.681" v="0" actId="20577"/>
          <ac:spMkLst>
            <pc:docMk/>
            <pc:sldMk cId="980249464" sldId="353"/>
            <ac:spMk id="3" creationId="{3A026BAA-8421-4209-ABC2-8A5B6445A1C2}"/>
          </ac:spMkLst>
        </pc:spChg>
      </pc:sldChg>
      <pc:sldChg chg="modSp">
        <pc:chgData name="Rakesh Lakshmipathy" userId="S::rakeshl@maveric-systems.com::6050c502-d529-4eba-90b2-5e1eb16aa821" providerId="AD" clId="Web-{E501E46D-72E9-AB4D-0AEF-5C1EC218637F}" dt="2020-10-19T07:49:32.837" v="34" actId="20577"/>
        <pc:sldMkLst>
          <pc:docMk/>
          <pc:sldMk cId="350775513" sldId="355"/>
        </pc:sldMkLst>
        <pc:spChg chg="mod">
          <ac:chgData name="Rakesh Lakshmipathy" userId="S::rakeshl@maveric-systems.com::6050c502-d529-4eba-90b2-5e1eb16aa821" providerId="AD" clId="Web-{E501E46D-72E9-AB4D-0AEF-5C1EC218637F}" dt="2020-10-19T07:49:32.837" v="34" actId="20577"/>
          <ac:spMkLst>
            <pc:docMk/>
            <pc:sldMk cId="350775513" sldId="355"/>
            <ac:spMk id="2" creationId="{7CB9D666-6987-4AAA-9EDE-74105B07065D}"/>
          </ac:spMkLst>
        </pc:spChg>
        <pc:spChg chg="mod">
          <ac:chgData name="Rakesh Lakshmipathy" userId="S::rakeshl@maveric-systems.com::6050c502-d529-4eba-90b2-5e1eb16aa821" providerId="AD" clId="Web-{E501E46D-72E9-AB4D-0AEF-5C1EC218637F}" dt="2020-10-19T07:49:26.353" v="30" actId="20577"/>
          <ac:spMkLst>
            <pc:docMk/>
            <pc:sldMk cId="350775513" sldId="355"/>
            <ac:spMk id="3" creationId="{9D22C5A2-1529-4959-974B-A0503098E08A}"/>
          </ac:spMkLst>
        </pc:spChg>
      </pc:sldChg>
      <pc:sldChg chg="modSp">
        <pc:chgData name="Rakesh Lakshmipathy" userId="S::rakeshl@maveric-systems.com::6050c502-d529-4eba-90b2-5e1eb16aa821" providerId="AD" clId="Web-{E501E46D-72E9-AB4D-0AEF-5C1EC218637F}" dt="2020-10-19T07:50:09.790" v="60" actId="20577"/>
        <pc:sldMkLst>
          <pc:docMk/>
          <pc:sldMk cId="2025552820" sldId="362"/>
        </pc:sldMkLst>
        <pc:spChg chg="mod">
          <ac:chgData name="Rakesh Lakshmipathy" userId="S::rakeshl@maveric-systems.com::6050c502-d529-4eba-90b2-5e1eb16aa821" providerId="AD" clId="Web-{E501E46D-72E9-AB4D-0AEF-5C1EC218637F}" dt="2020-10-19T07:50:04.494" v="56" actId="20577"/>
          <ac:spMkLst>
            <pc:docMk/>
            <pc:sldMk cId="2025552820" sldId="362"/>
            <ac:spMk id="3" creationId="{CBA9A7F6-7BC2-4A20-9548-6438F71AB093}"/>
          </ac:spMkLst>
        </pc:spChg>
        <pc:spChg chg="mod">
          <ac:chgData name="Rakesh Lakshmipathy" userId="S::rakeshl@maveric-systems.com::6050c502-d529-4eba-90b2-5e1eb16aa821" providerId="AD" clId="Web-{E501E46D-72E9-AB4D-0AEF-5C1EC218637F}" dt="2020-10-19T07:50:09.790" v="60" actId="20577"/>
          <ac:spMkLst>
            <pc:docMk/>
            <pc:sldMk cId="2025552820" sldId="362"/>
            <ac:spMk id="6" creationId="{64201533-4AAD-4073-B887-C06DD847C22B}"/>
          </ac:spMkLst>
        </pc:spChg>
      </pc:sldChg>
      <pc:sldChg chg="modSp">
        <pc:chgData name="Rakesh Lakshmipathy" userId="S::rakeshl@maveric-systems.com::6050c502-d529-4eba-90b2-5e1eb16aa821" providerId="AD" clId="Web-{E501E46D-72E9-AB4D-0AEF-5C1EC218637F}" dt="2020-10-19T07:49:57.681" v="51" actId="20577"/>
        <pc:sldMkLst>
          <pc:docMk/>
          <pc:sldMk cId="2263431109" sldId="365"/>
        </pc:sldMkLst>
        <pc:spChg chg="mod">
          <ac:chgData name="Rakesh Lakshmipathy" userId="S::rakeshl@maveric-systems.com::6050c502-d529-4eba-90b2-5e1eb16aa821" providerId="AD" clId="Web-{E501E46D-72E9-AB4D-0AEF-5C1EC218637F}" dt="2020-10-19T07:49:57.681" v="51" actId="20577"/>
          <ac:spMkLst>
            <pc:docMk/>
            <pc:sldMk cId="2263431109" sldId="365"/>
            <ac:spMk id="2" creationId="{7CB9D666-6987-4AAA-9EDE-74105B07065D}"/>
          </ac:spMkLst>
        </pc:spChg>
        <pc:spChg chg="mod">
          <ac:chgData name="Rakesh Lakshmipathy" userId="S::rakeshl@maveric-systems.com::6050c502-d529-4eba-90b2-5e1eb16aa821" providerId="AD" clId="Web-{E501E46D-72E9-AB4D-0AEF-5C1EC218637F}" dt="2020-10-19T07:49:52.962" v="47" actId="20577"/>
          <ac:spMkLst>
            <pc:docMk/>
            <pc:sldMk cId="2263431109" sldId="365"/>
            <ac:spMk id="3" creationId="{9D22C5A2-1529-4959-974B-A0503098E08A}"/>
          </ac:spMkLst>
        </pc:spChg>
      </pc:sldChg>
      <pc:sldChg chg="modSp">
        <pc:chgData name="Rakesh Lakshmipathy" userId="S::rakeshl@maveric-systems.com::6050c502-d529-4eba-90b2-5e1eb16aa821" providerId="AD" clId="Web-{E501E46D-72E9-AB4D-0AEF-5C1EC218637F}" dt="2020-10-19T07:48:41.665" v="10" actId="20577"/>
        <pc:sldMkLst>
          <pc:docMk/>
          <pc:sldMk cId="2276678590" sldId="375"/>
        </pc:sldMkLst>
        <pc:spChg chg="mod">
          <ac:chgData name="Rakesh Lakshmipathy" userId="S::rakeshl@maveric-systems.com::6050c502-d529-4eba-90b2-5e1eb16aa821" providerId="AD" clId="Web-{E501E46D-72E9-AB4D-0AEF-5C1EC218637F}" dt="2020-10-19T07:48:41.665" v="10" actId="20577"/>
          <ac:spMkLst>
            <pc:docMk/>
            <pc:sldMk cId="2276678590" sldId="375"/>
            <ac:spMk id="2" creationId="{DE7F924B-C620-4411-816E-07FF660B406C}"/>
          </ac:spMkLst>
        </pc:spChg>
        <pc:spChg chg="mod">
          <ac:chgData name="Rakesh Lakshmipathy" userId="S::rakeshl@maveric-systems.com::6050c502-d529-4eba-90b2-5e1eb16aa821" providerId="AD" clId="Web-{E501E46D-72E9-AB4D-0AEF-5C1EC218637F}" dt="2020-10-19T07:48:35.040" v="6" actId="20577"/>
          <ac:spMkLst>
            <pc:docMk/>
            <pc:sldMk cId="2276678590" sldId="375"/>
            <ac:spMk id="3" creationId="{3A026BAA-8421-4209-ABC2-8A5B6445A1C2}"/>
          </ac:spMkLst>
        </pc:spChg>
      </pc:sldChg>
      <pc:sldChg chg="modSp">
        <pc:chgData name="Rakesh Lakshmipathy" userId="S::rakeshl@maveric-systems.com::6050c502-d529-4eba-90b2-5e1eb16aa821" providerId="AD" clId="Web-{E501E46D-72E9-AB4D-0AEF-5C1EC218637F}" dt="2020-10-19T07:49:00.868" v="19" actId="20577"/>
        <pc:sldMkLst>
          <pc:docMk/>
          <pc:sldMk cId="497650310" sldId="376"/>
        </pc:sldMkLst>
        <pc:spChg chg="mod">
          <ac:chgData name="Rakesh Lakshmipathy" userId="S::rakeshl@maveric-systems.com::6050c502-d529-4eba-90b2-5e1eb16aa821" providerId="AD" clId="Web-{E501E46D-72E9-AB4D-0AEF-5C1EC218637F}" dt="2020-10-19T07:49:00.868" v="19" actId="20577"/>
          <ac:spMkLst>
            <pc:docMk/>
            <pc:sldMk cId="497650310" sldId="376"/>
            <ac:spMk id="2" creationId="{DE7F924B-C620-4411-816E-07FF660B406C}"/>
          </ac:spMkLst>
        </pc:spChg>
        <pc:spChg chg="mod">
          <ac:chgData name="Rakesh Lakshmipathy" userId="S::rakeshl@maveric-systems.com::6050c502-d529-4eba-90b2-5e1eb16aa821" providerId="AD" clId="Web-{E501E46D-72E9-AB4D-0AEF-5C1EC218637F}" dt="2020-10-19T07:48:55.259" v="15" actId="20577"/>
          <ac:spMkLst>
            <pc:docMk/>
            <pc:sldMk cId="497650310" sldId="376"/>
            <ac:spMk id="3" creationId="{3A026BAA-8421-4209-ABC2-8A5B6445A1C2}"/>
          </ac:spMkLst>
        </pc:spChg>
      </pc:sldChg>
      <pc:sldChg chg="modSp">
        <pc:chgData name="Rakesh Lakshmipathy" userId="S::rakeshl@maveric-systems.com::6050c502-d529-4eba-90b2-5e1eb16aa821" providerId="AD" clId="Web-{E501E46D-72E9-AB4D-0AEF-5C1EC218637F}" dt="2020-10-19T07:49:14.650" v="26" actId="20577"/>
        <pc:sldMkLst>
          <pc:docMk/>
          <pc:sldMk cId="3414234315" sldId="377"/>
        </pc:sldMkLst>
        <pc:spChg chg="mod">
          <ac:chgData name="Rakesh Lakshmipathy" userId="S::rakeshl@maveric-systems.com::6050c502-d529-4eba-90b2-5e1eb16aa821" providerId="AD" clId="Web-{E501E46D-72E9-AB4D-0AEF-5C1EC218637F}" dt="2020-10-19T07:49:14.650" v="26" actId="20577"/>
          <ac:spMkLst>
            <pc:docMk/>
            <pc:sldMk cId="3414234315" sldId="377"/>
            <ac:spMk id="2" creationId="{DE7F924B-C620-4411-816E-07FF660B406C}"/>
          </ac:spMkLst>
        </pc:spChg>
        <pc:spChg chg="mod">
          <ac:chgData name="Rakesh Lakshmipathy" userId="S::rakeshl@maveric-systems.com::6050c502-d529-4eba-90b2-5e1eb16aa821" providerId="AD" clId="Web-{E501E46D-72E9-AB4D-0AEF-5C1EC218637F}" dt="2020-10-19T07:49:03.696" v="20" actId="20577"/>
          <ac:spMkLst>
            <pc:docMk/>
            <pc:sldMk cId="3414234315" sldId="377"/>
            <ac:spMk id="3" creationId="{3A026BAA-8421-4209-ABC2-8A5B6445A1C2}"/>
          </ac:spMkLst>
        </pc:spChg>
      </pc:sldChg>
      <pc:sldChg chg="modSp">
        <pc:chgData name="Rakesh Lakshmipathy" userId="S::rakeshl@maveric-systems.com::6050c502-d529-4eba-90b2-5e1eb16aa821" providerId="AD" clId="Web-{E501E46D-72E9-AB4D-0AEF-5C1EC218637F}" dt="2020-10-19T07:50:21.916" v="69" actId="20577"/>
        <pc:sldMkLst>
          <pc:docMk/>
          <pc:sldMk cId="1766450830" sldId="378"/>
        </pc:sldMkLst>
        <pc:spChg chg="mod">
          <ac:chgData name="Rakesh Lakshmipathy" userId="S::rakeshl@maveric-systems.com::6050c502-d529-4eba-90b2-5e1eb16aa821" providerId="AD" clId="Web-{E501E46D-72E9-AB4D-0AEF-5C1EC218637F}" dt="2020-10-19T07:50:21.916" v="69" actId="20577"/>
          <ac:spMkLst>
            <pc:docMk/>
            <pc:sldMk cId="1766450830" sldId="378"/>
            <ac:spMk id="3" creationId="{CBA9A7F6-7BC2-4A20-9548-6438F71AB093}"/>
          </ac:spMkLst>
        </pc:spChg>
        <pc:spChg chg="mod">
          <ac:chgData name="Rakesh Lakshmipathy" userId="S::rakeshl@maveric-systems.com::6050c502-d529-4eba-90b2-5e1eb16aa821" providerId="AD" clId="Web-{E501E46D-72E9-AB4D-0AEF-5C1EC218637F}" dt="2020-10-19T07:50:17.056" v="64" actId="20577"/>
          <ac:spMkLst>
            <pc:docMk/>
            <pc:sldMk cId="1766450830" sldId="378"/>
            <ac:spMk id="6" creationId="{64201533-4AAD-4073-B887-C06DD847C22B}"/>
          </ac:spMkLst>
        </pc:spChg>
      </pc:sldChg>
      <pc:sldChg chg="delSp modSp">
        <pc:chgData name="Rakesh Lakshmipathy" userId="S::rakeshl@maveric-systems.com::6050c502-d529-4eba-90b2-5e1eb16aa821" providerId="AD" clId="Web-{E501E46D-72E9-AB4D-0AEF-5C1EC218637F}" dt="2020-10-19T07:50:50.072" v="80" actId="1076"/>
        <pc:sldMkLst>
          <pc:docMk/>
          <pc:sldMk cId="1909105082" sldId="379"/>
        </pc:sldMkLst>
        <pc:spChg chg="mod">
          <ac:chgData name="Rakesh Lakshmipathy" userId="S::rakeshl@maveric-systems.com::6050c502-d529-4eba-90b2-5e1eb16aa821" providerId="AD" clId="Web-{E501E46D-72E9-AB4D-0AEF-5C1EC218637F}" dt="2020-10-19T07:50:50.072" v="80" actId="1076"/>
          <ac:spMkLst>
            <pc:docMk/>
            <pc:sldMk cId="1909105082" sldId="379"/>
            <ac:spMk id="2" creationId="{BEE1822B-EF1D-42B8-ABA9-FA49F49FED04}"/>
          </ac:spMkLst>
        </pc:spChg>
        <pc:spChg chg="mod">
          <ac:chgData name="Rakesh Lakshmipathy" userId="S::rakeshl@maveric-systems.com::6050c502-d529-4eba-90b2-5e1eb16aa821" providerId="AD" clId="Web-{E501E46D-72E9-AB4D-0AEF-5C1EC218637F}" dt="2020-10-19T07:50:40.712" v="76" actId="1076"/>
          <ac:spMkLst>
            <pc:docMk/>
            <pc:sldMk cId="1909105082" sldId="379"/>
            <ac:spMk id="3" creationId="{B89DC562-8A78-4CEA-98DC-B6486498FC92}"/>
          </ac:spMkLst>
        </pc:spChg>
        <pc:spChg chg="mod">
          <ac:chgData name="Rakesh Lakshmipathy" userId="S::rakeshl@maveric-systems.com::6050c502-d529-4eba-90b2-5e1eb16aa821" providerId="AD" clId="Web-{E501E46D-72E9-AB4D-0AEF-5C1EC218637F}" dt="2020-10-19T07:50:40.744" v="77" actId="1076"/>
          <ac:spMkLst>
            <pc:docMk/>
            <pc:sldMk cId="1909105082" sldId="379"/>
            <ac:spMk id="4" creationId="{AD58D490-1F1F-498C-8DB4-BFC40EF1CC0C}"/>
          </ac:spMkLst>
        </pc:spChg>
        <pc:spChg chg="del">
          <ac:chgData name="Rakesh Lakshmipathy" userId="S::rakeshl@maveric-systems.com::6050c502-d529-4eba-90b2-5e1eb16aa821" providerId="AD" clId="Web-{E501E46D-72E9-AB4D-0AEF-5C1EC218637F}" dt="2020-10-19T07:50:31.072" v="70"/>
          <ac:spMkLst>
            <pc:docMk/>
            <pc:sldMk cId="1909105082" sldId="379"/>
            <ac:spMk id="5" creationId="{9BA20130-AE10-423A-9F18-341F5DF25251}"/>
          </ac:spMkLst>
        </pc:spChg>
        <pc:spChg chg="mod">
          <ac:chgData name="Rakesh Lakshmipathy" userId="S::rakeshl@maveric-systems.com::6050c502-d529-4eba-90b2-5e1eb16aa821" providerId="AD" clId="Web-{E501E46D-72E9-AB4D-0AEF-5C1EC218637F}" dt="2020-10-19T07:50:44.588" v="79" actId="1076"/>
          <ac:spMkLst>
            <pc:docMk/>
            <pc:sldMk cId="1909105082" sldId="379"/>
            <ac:spMk id="7" creationId="{D726F6B2-3D8F-485B-9492-F52A283C8974}"/>
          </ac:spMkLst>
        </pc:spChg>
      </pc:sldChg>
      <pc:sldChg chg="modSp">
        <pc:chgData name="Rakesh Lakshmipathy" userId="S::rakeshl@maveric-systems.com::6050c502-d529-4eba-90b2-5e1eb16aa821" providerId="AD" clId="Web-{E501E46D-72E9-AB4D-0AEF-5C1EC218637F}" dt="2020-10-19T07:48:49.134" v="14" actId="20577"/>
        <pc:sldMkLst>
          <pc:docMk/>
          <pc:sldMk cId="2610125523" sldId="382"/>
        </pc:sldMkLst>
        <pc:spChg chg="mod">
          <ac:chgData name="Rakesh Lakshmipathy" userId="S::rakeshl@maveric-systems.com::6050c502-d529-4eba-90b2-5e1eb16aa821" providerId="AD" clId="Web-{E501E46D-72E9-AB4D-0AEF-5C1EC218637F}" dt="2020-10-19T07:48:49.134" v="14" actId="20577"/>
          <ac:spMkLst>
            <pc:docMk/>
            <pc:sldMk cId="2610125523" sldId="382"/>
            <ac:spMk id="2" creationId="{DE7F924B-C620-4411-816E-07FF660B406C}"/>
          </ac:spMkLst>
        </pc:spChg>
        <pc:spChg chg="mod">
          <ac:chgData name="Rakesh Lakshmipathy" userId="S::rakeshl@maveric-systems.com::6050c502-d529-4eba-90b2-5e1eb16aa821" providerId="AD" clId="Web-{E501E46D-72E9-AB4D-0AEF-5C1EC218637F}" dt="2020-10-19T07:48:45.806" v="11" actId="20577"/>
          <ac:spMkLst>
            <pc:docMk/>
            <pc:sldMk cId="2610125523" sldId="382"/>
            <ac:spMk id="3" creationId="{3A026BAA-8421-4209-ABC2-8A5B6445A1C2}"/>
          </ac:spMkLst>
        </pc:spChg>
      </pc:sldChg>
      <pc:sldChg chg="modSp">
        <pc:chgData name="Rakesh Lakshmipathy" userId="S::rakeshl@maveric-systems.com::6050c502-d529-4eba-90b2-5e1eb16aa821" providerId="AD" clId="Web-{E501E46D-72E9-AB4D-0AEF-5C1EC218637F}" dt="2020-10-19T07:49:45.103" v="42" actId="20577"/>
        <pc:sldMkLst>
          <pc:docMk/>
          <pc:sldMk cId="3167450862" sldId="383"/>
        </pc:sldMkLst>
        <pc:spChg chg="mod">
          <ac:chgData name="Rakesh Lakshmipathy" userId="S::rakeshl@maveric-systems.com::6050c502-d529-4eba-90b2-5e1eb16aa821" providerId="AD" clId="Web-{E501E46D-72E9-AB4D-0AEF-5C1EC218637F}" dt="2020-10-19T07:49:37.243" v="36" actId="20577"/>
          <ac:spMkLst>
            <pc:docMk/>
            <pc:sldMk cId="3167450862" sldId="383"/>
            <ac:spMk id="2" creationId="{7CB9D666-6987-4AAA-9EDE-74105B07065D}"/>
          </ac:spMkLst>
        </pc:spChg>
        <pc:spChg chg="mod">
          <ac:chgData name="Rakesh Lakshmipathy" userId="S::rakeshl@maveric-systems.com::6050c502-d529-4eba-90b2-5e1eb16aa821" providerId="AD" clId="Web-{E501E46D-72E9-AB4D-0AEF-5C1EC218637F}" dt="2020-10-19T07:49:45.103" v="42" actId="20577"/>
          <ac:spMkLst>
            <pc:docMk/>
            <pc:sldMk cId="3167450862" sldId="383"/>
            <ac:spMk id="3" creationId="{9D22C5A2-1529-4959-974B-A0503098E08A}"/>
          </ac:spMkLst>
        </pc:spChg>
      </pc:sldChg>
      <pc:sldChg chg="modSp">
        <pc:chgData name="Rakesh Lakshmipathy" userId="S::rakeshl@maveric-systems.com::6050c502-d529-4eba-90b2-5e1eb16aa821" providerId="AD" clId="Web-{E501E46D-72E9-AB4D-0AEF-5C1EC218637F}" dt="2020-10-19T07:51:51.713" v="92" actId="20577"/>
        <pc:sldMkLst>
          <pc:docMk/>
          <pc:sldMk cId="3975699398" sldId="384"/>
        </pc:sldMkLst>
        <pc:spChg chg="mod">
          <ac:chgData name="Rakesh Lakshmipathy" userId="S::rakeshl@maveric-systems.com::6050c502-d529-4eba-90b2-5e1eb16aa821" providerId="AD" clId="Web-{E501E46D-72E9-AB4D-0AEF-5C1EC218637F}" dt="2020-10-19T07:51:45.166" v="87" actId="20577"/>
          <ac:spMkLst>
            <pc:docMk/>
            <pc:sldMk cId="3975699398" sldId="384"/>
            <ac:spMk id="2" creationId="{BEE1822B-EF1D-42B8-ABA9-FA49F49FED04}"/>
          </ac:spMkLst>
        </pc:spChg>
        <pc:spChg chg="mod">
          <ac:chgData name="Rakesh Lakshmipathy" userId="S::rakeshl@maveric-systems.com::6050c502-d529-4eba-90b2-5e1eb16aa821" providerId="AD" clId="Web-{E501E46D-72E9-AB4D-0AEF-5C1EC218637F}" dt="2020-10-19T07:51:51.713" v="92" actId="20577"/>
          <ac:spMkLst>
            <pc:docMk/>
            <pc:sldMk cId="3975699398" sldId="384"/>
            <ac:spMk id="3" creationId="{B89DC562-8A78-4CEA-98DC-B6486498FC92}"/>
          </ac:spMkLst>
        </pc:spChg>
      </pc:sldChg>
      <pc:sldChg chg="modSp">
        <pc:chgData name="Rakesh Lakshmipathy" userId="S::rakeshl@maveric-systems.com::6050c502-d529-4eba-90b2-5e1eb16aa821" providerId="AD" clId="Web-{E501E46D-72E9-AB4D-0AEF-5C1EC218637F}" dt="2020-10-19T07:51:38.354" v="84" actId="1076"/>
        <pc:sldMkLst>
          <pc:docMk/>
          <pc:sldMk cId="978130136" sldId="385"/>
        </pc:sldMkLst>
        <pc:spChg chg="mod">
          <ac:chgData name="Rakesh Lakshmipathy" userId="S::rakeshl@maveric-systems.com::6050c502-d529-4eba-90b2-5e1eb16aa821" providerId="AD" clId="Web-{E501E46D-72E9-AB4D-0AEF-5C1EC218637F}" dt="2020-10-19T07:51:38.354" v="84" actId="1076"/>
          <ac:spMkLst>
            <pc:docMk/>
            <pc:sldMk cId="978130136" sldId="385"/>
            <ac:spMk id="7" creationId="{D726F6B2-3D8F-485B-9492-F52A283C8974}"/>
          </ac:spMkLst>
        </pc:spChg>
      </pc:sldChg>
      <pc:sldChg chg="modSp">
        <pc:chgData name="Rakesh Lakshmipathy" userId="S::rakeshl@maveric-systems.com::6050c502-d529-4eba-90b2-5e1eb16aa821" providerId="AD" clId="Web-{E501E46D-72E9-AB4D-0AEF-5C1EC218637F}" dt="2020-10-19T07:54:18.167" v="106" actId="20577"/>
        <pc:sldMkLst>
          <pc:docMk/>
          <pc:sldMk cId="2060814786" sldId="386"/>
        </pc:sldMkLst>
        <pc:spChg chg="mod">
          <ac:chgData name="Rakesh Lakshmipathy" userId="S::rakeshl@maveric-systems.com::6050c502-d529-4eba-90b2-5e1eb16aa821" providerId="AD" clId="Web-{E501E46D-72E9-AB4D-0AEF-5C1EC218637F}" dt="2020-10-19T07:54:18.167" v="106" actId="20577"/>
          <ac:spMkLst>
            <pc:docMk/>
            <pc:sldMk cId="2060814786" sldId="386"/>
            <ac:spMk id="2" creationId="{BEE1822B-EF1D-42B8-ABA9-FA49F49FED04}"/>
          </ac:spMkLst>
        </pc:spChg>
      </pc:sldChg>
      <pc:sldChg chg="modSp">
        <pc:chgData name="Rakesh Lakshmipathy" userId="S::rakeshl@maveric-systems.com::6050c502-d529-4eba-90b2-5e1eb16aa821" providerId="AD" clId="Web-{E501E46D-72E9-AB4D-0AEF-5C1EC218637F}" dt="2020-10-19T07:55:00.870" v="125" actId="20577"/>
        <pc:sldMkLst>
          <pc:docMk/>
          <pc:sldMk cId="1725555037" sldId="387"/>
        </pc:sldMkLst>
        <pc:spChg chg="mod">
          <ac:chgData name="Rakesh Lakshmipathy" userId="S::rakeshl@maveric-systems.com::6050c502-d529-4eba-90b2-5e1eb16aa821" providerId="AD" clId="Web-{E501E46D-72E9-AB4D-0AEF-5C1EC218637F}" dt="2020-10-19T07:55:00.870" v="125" actId="20577"/>
          <ac:spMkLst>
            <pc:docMk/>
            <pc:sldMk cId="1725555037" sldId="387"/>
            <ac:spMk id="2" creationId="{C1B07ECB-00F1-4960-A5B0-52C03162FF26}"/>
          </ac:spMkLst>
        </pc:spChg>
      </pc:sldChg>
      <pc:sldChg chg="modSp">
        <pc:chgData name="Rakesh Lakshmipathy" userId="S::rakeshl@maveric-systems.com::6050c502-d529-4eba-90b2-5e1eb16aa821" providerId="AD" clId="Web-{E501E46D-72E9-AB4D-0AEF-5C1EC218637F}" dt="2020-10-19T07:55:18.199" v="132" actId="20577"/>
        <pc:sldMkLst>
          <pc:docMk/>
          <pc:sldMk cId="531262294" sldId="388"/>
        </pc:sldMkLst>
        <pc:spChg chg="mod">
          <ac:chgData name="Rakesh Lakshmipathy" userId="S::rakeshl@maveric-systems.com::6050c502-d529-4eba-90b2-5e1eb16aa821" providerId="AD" clId="Web-{E501E46D-72E9-AB4D-0AEF-5C1EC218637F}" dt="2020-10-19T07:55:18.199" v="132" actId="20577"/>
          <ac:spMkLst>
            <pc:docMk/>
            <pc:sldMk cId="531262294" sldId="388"/>
            <ac:spMk id="2" creationId="{C1B07ECB-00F1-4960-A5B0-52C03162FF26}"/>
          </ac:spMkLst>
        </pc:spChg>
      </pc:sldChg>
      <pc:sldChg chg="modSp">
        <pc:chgData name="Rakesh Lakshmipathy" userId="S::rakeshl@maveric-systems.com::6050c502-d529-4eba-90b2-5e1eb16aa821" providerId="AD" clId="Web-{E501E46D-72E9-AB4D-0AEF-5C1EC218637F}" dt="2020-10-19T07:56:16.215" v="139" actId="20577"/>
        <pc:sldMkLst>
          <pc:docMk/>
          <pc:sldMk cId="1662309695" sldId="389"/>
        </pc:sldMkLst>
        <pc:spChg chg="mod">
          <ac:chgData name="Rakesh Lakshmipathy" userId="S::rakeshl@maveric-systems.com::6050c502-d529-4eba-90b2-5e1eb16aa821" providerId="AD" clId="Web-{E501E46D-72E9-AB4D-0AEF-5C1EC218637F}" dt="2020-10-19T07:56:11.824" v="137" actId="20577"/>
          <ac:spMkLst>
            <pc:docMk/>
            <pc:sldMk cId="1662309695" sldId="389"/>
            <ac:spMk id="2" creationId="{EE1F392C-7565-4FDE-B101-DFF97D091BC1}"/>
          </ac:spMkLst>
        </pc:spChg>
        <pc:spChg chg="mod">
          <ac:chgData name="Rakesh Lakshmipathy" userId="S::rakeshl@maveric-systems.com::6050c502-d529-4eba-90b2-5e1eb16aa821" providerId="AD" clId="Web-{E501E46D-72E9-AB4D-0AEF-5C1EC218637F}" dt="2020-10-19T07:56:16.215" v="139" actId="20577"/>
          <ac:spMkLst>
            <pc:docMk/>
            <pc:sldMk cId="1662309695" sldId="389"/>
            <ac:spMk id="3" creationId="{E33683EF-7FC1-4349-B3C0-3ED0F03ED193}"/>
          </ac:spMkLst>
        </pc:spChg>
      </pc:sldChg>
      <pc:sldChg chg="modSp">
        <pc:chgData name="Rakesh Lakshmipathy" userId="S::rakeshl@maveric-systems.com::6050c502-d529-4eba-90b2-5e1eb16aa821" providerId="AD" clId="Web-{E501E46D-72E9-AB4D-0AEF-5C1EC218637F}" dt="2020-10-19T07:58:06.840" v="151" actId="20577"/>
        <pc:sldMkLst>
          <pc:docMk/>
          <pc:sldMk cId="1981994391" sldId="391"/>
        </pc:sldMkLst>
        <pc:spChg chg="mod">
          <ac:chgData name="Rakesh Lakshmipathy" userId="S::rakeshl@maveric-systems.com::6050c502-d529-4eba-90b2-5e1eb16aa821" providerId="AD" clId="Web-{E501E46D-72E9-AB4D-0AEF-5C1EC218637F}" dt="2020-10-19T07:58:06.840" v="151" actId="20577"/>
          <ac:spMkLst>
            <pc:docMk/>
            <pc:sldMk cId="1981994391" sldId="391"/>
            <ac:spMk id="2" creationId="{E009EF96-F32A-4EB6-974D-953AB00ADF52}"/>
          </ac:spMkLst>
        </pc:spChg>
        <pc:spChg chg="mod">
          <ac:chgData name="Rakesh Lakshmipathy" userId="S::rakeshl@maveric-systems.com::6050c502-d529-4eba-90b2-5e1eb16aa821" providerId="AD" clId="Web-{E501E46D-72E9-AB4D-0AEF-5C1EC218637F}" dt="2020-10-19T07:56:35.480" v="146" actId="20577"/>
          <ac:spMkLst>
            <pc:docMk/>
            <pc:sldMk cId="1981994391" sldId="391"/>
            <ac:spMk id="3" creationId="{82BEA29C-E020-4D4B-A69F-8BA76E6A51DD}"/>
          </ac:spMkLst>
        </pc:spChg>
      </pc:sldChg>
      <pc:sldChg chg="modSp">
        <pc:chgData name="Rakesh Lakshmipathy" userId="S::rakeshl@maveric-systems.com::6050c502-d529-4eba-90b2-5e1eb16aa821" providerId="AD" clId="Web-{E501E46D-72E9-AB4D-0AEF-5C1EC218637F}" dt="2020-10-19T07:58:23.121" v="160" actId="20577"/>
        <pc:sldMkLst>
          <pc:docMk/>
          <pc:sldMk cId="2521096104" sldId="392"/>
        </pc:sldMkLst>
        <pc:spChg chg="mod">
          <ac:chgData name="Rakesh Lakshmipathy" userId="S::rakeshl@maveric-systems.com::6050c502-d529-4eba-90b2-5e1eb16aa821" providerId="AD" clId="Web-{E501E46D-72E9-AB4D-0AEF-5C1EC218637F}" dt="2020-10-19T07:58:11.481" v="155" actId="20577"/>
          <ac:spMkLst>
            <pc:docMk/>
            <pc:sldMk cId="2521096104" sldId="392"/>
            <ac:spMk id="2" creationId="{471C50E5-AF0B-497D-BC37-A797B28AA356}"/>
          </ac:spMkLst>
        </pc:spChg>
        <pc:spChg chg="mod">
          <ac:chgData name="Rakesh Lakshmipathy" userId="S::rakeshl@maveric-systems.com::6050c502-d529-4eba-90b2-5e1eb16aa821" providerId="AD" clId="Web-{E501E46D-72E9-AB4D-0AEF-5C1EC218637F}" dt="2020-10-19T07:58:23.121" v="160" actId="20577"/>
          <ac:spMkLst>
            <pc:docMk/>
            <pc:sldMk cId="2521096104" sldId="392"/>
            <ac:spMk id="3" creationId="{73EB1844-4D59-4E99-8909-B59C69BBECF1}"/>
          </ac:spMkLst>
        </pc:spChg>
      </pc:sldChg>
      <pc:sldChg chg="delSp">
        <pc:chgData name="Rakesh Lakshmipathy" userId="S::rakeshl@maveric-systems.com::6050c502-d529-4eba-90b2-5e1eb16aa821" providerId="AD" clId="Web-{E501E46D-72E9-AB4D-0AEF-5C1EC218637F}" dt="2020-10-19T07:58:28.965" v="162"/>
        <pc:sldMkLst>
          <pc:docMk/>
          <pc:sldMk cId="2013155595" sldId="393"/>
        </pc:sldMkLst>
        <pc:spChg chg="del">
          <ac:chgData name="Rakesh Lakshmipathy" userId="S::rakeshl@maveric-systems.com::6050c502-d529-4eba-90b2-5e1eb16aa821" providerId="AD" clId="Web-{E501E46D-72E9-AB4D-0AEF-5C1EC218637F}" dt="2020-10-19T07:58:28.965" v="162"/>
          <ac:spMkLst>
            <pc:docMk/>
            <pc:sldMk cId="2013155595" sldId="393"/>
            <ac:spMk id="3" creationId="{8DCC13CD-75F4-4253-BACA-CB3406060916}"/>
          </ac:spMkLst>
        </pc:spChg>
      </pc:sldChg>
      <pc:sldChg chg="delSp">
        <pc:chgData name="Rakesh Lakshmipathy" userId="S::rakeshl@maveric-systems.com::6050c502-d529-4eba-90b2-5e1eb16aa821" providerId="AD" clId="Web-{E501E46D-72E9-AB4D-0AEF-5C1EC218637F}" dt="2020-10-19T07:58:46.028" v="163"/>
        <pc:sldMkLst>
          <pc:docMk/>
          <pc:sldMk cId="3425171524" sldId="394"/>
        </pc:sldMkLst>
        <pc:spChg chg="del">
          <ac:chgData name="Rakesh Lakshmipathy" userId="S::rakeshl@maveric-systems.com::6050c502-d529-4eba-90b2-5e1eb16aa821" providerId="AD" clId="Web-{E501E46D-72E9-AB4D-0AEF-5C1EC218637F}" dt="2020-10-19T07:58:46.028" v="163"/>
          <ac:spMkLst>
            <pc:docMk/>
            <pc:sldMk cId="3425171524" sldId="394"/>
            <ac:spMk id="3" creationId="{2586DF18-DE83-4D99-A5E9-049E40E6F8DA}"/>
          </ac:spMkLst>
        </pc:spChg>
      </pc:sldChg>
      <pc:sldChg chg="addSp delSp modSp del">
        <pc:chgData name="Rakesh Lakshmipathy" userId="S::rakeshl@maveric-systems.com::6050c502-d529-4eba-90b2-5e1eb16aa821" providerId="AD" clId="Web-{E501E46D-72E9-AB4D-0AEF-5C1EC218637F}" dt="2020-10-19T07:59:49.637" v="171"/>
        <pc:sldMkLst>
          <pc:docMk/>
          <pc:sldMk cId="92416580" sldId="396"/>
        </pc:sldMkLst>
        <pc:spChg chg="add del mod">
          <ac:chgData name="Rakesh Lakshmipathy" userId="S::rakeshl@maveric-systems.com::6050c502-d529-4eba-90b2-5e1eb16aa821" providerId="AD" clId="Web-{E501E46D-72E9-AB4D-0AEF-5C1EC218637F}" dt="2020-10-19T07:59:04.637" v="166"/>
          <ac:spMkLst>
            <pc:docMk/>
            <pc:sldMk cId="92416580" sldId="396"/>
            <ac:spMk id="3" creationId="{A5BDF59E-A026-4131-BDCB-656310C70653}"/>
          </ac:spMkLst>
        </pc:spChg>
        <pc:picChg chg="add del">
          <ac:chgData name="Rakesh Lakshmipathy" userId="S::rakeshl@maveric-systems.com::6050c502-d529-4eba-90b2-5e1eb16aa821" providerId="AD" clId="Web-{E501E46D-72E9-AB4D-0AEF-5C1EC218637F}" dt="2020-10-19T07:59:04.637" v="166"/>
          <ac:picMkLst>
            <pc:docMk/>
            <pc:sldMk cId="92416580" sldId="396"/>
            <ac:picMk id="4" creationId="{00000000-0000-0000-0000-000000000000}"/>
          </ac:picMkLst>
        </pc:picChg>
      </pc:sldChg>
      <pc:sldChg chg="addSp delSp modSp add replId">
        <pc:chgData name="Rakesh Lakshmipathy" userId="S::rakeshl@maveric-systems.com::6050c502-d529-4eba-90b2-5e1eb16aa821" providerId="AD" clId="Web-{E501E46D-72E9-AB4D-0AEF-5C1EC218637F}" dt="2020-10-19T07:59:44.216" v="170" actId="14100"/>
        <pc:sldMkLst>
          <pc:docMk/>
          <pc:sldMk cId="719179799" sldId="397"/>
        </pc:sldMkLst>
        <pc:spChg chg="add mod">
          <ac:chgData name="Rakesh Lakshmipathy" userId="S::rakeshl@maveric-systems.com::6050c502-d529-4eba-90b2-5e1eb16aa821" providerId="AD" clId="Web-{E501E46D-72E9-AB4D-0AEF-5C1EC218637F}" dt="2020-10-19T07:59:30.309" v="167"/>
          <ac:spMkLst>
            <pc:docMk/>
            <pc:sldMk cId="719179799" sldId="397"/>
            <ac:spMk id="3" creationId="{A66A30D6-70DF-4154-9293-ACF3C94E49C8}"/>
          </ac:spMkLst>
        </pc:spChg>
        <pc:picChg chg="del">
          <ac:chgData name="Rakesh Lakshmipathy" userId="S::rakeshl@maveric-systems.com::6050c502-d529-4eba-90b2-5e1eb16aa821" providerId="AD" clId="Web-{E501E46D-72E9-AB4D-0AEF-5C1EC218637F}" dt="2020-10-19T07:59:30.309" v="167"/>
          <ac:picMkLst>
            <pc:docMk/>
            <pc:sldMk cId="719179799" sldId="397"/>
            <ac:picMk id="5" creationId="{D32DB9BC-7A1A-485D-BFF2-EA3285AD4AF7}"/>
          </ac:picMkLst>
        </pc:picChg>
        <pc:picChg chg="add mod">
          <ac:chgData name="Rakesh Lakshmipathy" userId="S::rakeshl@maveric-systems.com::6050c502-d529-4eba-90b2-5e1eb16aa821" providerId="AD" clId="Web-{E501E46D-72E9-AB4D-0AEF-5C1EC218637F}" dt="2020-10-19T07:59:44.216" v="170" actId="14100"/>
          <ac:picMkLst>
            <pc:docMk/>
            <pc:sldMk cId="719179799" sldId="397"/>
            <ac:picMk id="7" creationId="{23794965-4F45-4D64-81F3-AC8657D0C70C}"/>
          </ac:picMkLst>
        </pc:picChg>
      </pc:sldChg>
    </pc:docChg>
  </pc:docChgLst>
  <pc:docChgLst>
    <pc:chgData name="Anitha Punithavelu" userId="S::anithap@maveric-systems.com::5abe8dd9-e5a1-48dd-b47a-563274365dd7" providerId="AD" clId="Web-{EF85A60B-3623-31E6-8F7D-E25E6159EB15}"/>
    <pc:docChg chg="modSld">
      <pc:chgData name="Anitha Punithavelu" userId="S::anithap@maveric-systems.com::5abe8dd9-e5a1-48dd-b47a-563274365dd7" providerId="AD" clId="Web-{EF85A60B-3623-31E6-8F7D-E25E6159EB15}" dt="2020-10-19T10:39:49.664" v="2"/>
      <pc:docMkLst>
        <pc:docMk/>
      </pc:docMkLst>
      <pc:sldChg chg="modSp">
        <pc:chgData name="Anitha Punithavelu" userId="S::anithap@maveric-systems.com::5abe8dd9-e5a1-48dd-b47a-563274365dd7" providerId="AD" clId="Web-{EF85A60B-3623-31E6-8F7D-E25E6159EB15}" dt="2020-10-19T10:39:19.335" v="1" actId="20577"/>
        <pc:sldMkLst>
          <pc:docMk/>
          <pc:sldMk cId="3414234315" sldId="377"/>
        </pc:sldMkLst>
        <pc:spChg chg="mod">
          <ac:chgData name="Anitha Punithavelu" userId="S::anithap@maveric-systems.com::5abe8dd9-e5a1-48dd-b47a-563274365dd7" providerId="AD" clId="Web-{EF85A60B-3623-31E6-8F7D-E25E6159EB15}" dt="2020-10-19T10:39:19.335" v="1" actId="20577"/>
          <ac:spMkLst>
            <pc:docMk/>
            <pc:sldMk cId="3414234315" sldId="377"/>
            <ac:spMk id="2" creationId="{DE7F924B-C620-4411-816E-07FF660B406C}"/>
          </ac:spMkLst>
        </pc:spChg>
      </pc:sldChg>
      <pc:sldChg chg="delSp">
        <pc:chgData name="Anitha Punithavelu" userId="S::anithap@maveric-systems.com::5abe8dd9-e5a1-48dd-b47a-563274365dd7" providerId="AD" clId="Web-{EF85A60B-3623-31E6-8F7D-E25E6159EB15}" dt="2020-10-19T10:39:49.664" v="2"/>
        <pc:sldMkLst>
          <pc:docMk/>
          <pc:sldMk cId="719179799" sldId="397"/>
        </pc:sldMkLst>
        <pc:spChg chg="del">
          <ac:chgData name="Anitha Punithavelu" userId="S::anithap@maveric-systems.com::5abe8dd9-e5a1-48dd-b47a-563274365dd7" providerId="AD" clId="Web-{EF85A60B-3623-31E6-8F7D-E25E6159EB15}" dt="2020-10-19T10:39:49.664" v="2"/>
          <ac:spMkLst>
            <pc:docMk/>
            <pc:sldMk cId="719179799" sldId="397"/>
            <ac:spMk id="3" creationId="{A66A30D6-70DF-4154-9293-ACF3C94E49C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7/25/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25/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25/07/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s://en.wikipedia.org/wiki/PDF"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446934" y="3263121"/>
            <a:ext cx="4878359" cy="1017288"/>
          </a:xfrm>
        </p:spPr>
        <p:txBody>
          <a:bodyPr>
            <a:noAutofit/>
          </a:bodyPr>
          <a:lstStyle/>
          <a:p>
            <a:pPr algn="ctr"/>
            <a:r>
              <a:rPr lang="en-IN" sz="2800" b="1" dirty="0">
                <a:cs typeface="Calibri"/>
              </a:rPr>
              <a:t/>
            </a:r>
            <a:br>
              <a:rPr lang="en-IN" sz="2800" b="1" dirty="0">
                <a:cs typeface="Calibri"/>
              </a:rPr>
            </a:br>
            <a:r>
              <a:rPr lang="en-IN" sz="2800" b="1" dirty="0">
                <a:cs typeface="Calibri"/>
              </a:rPr>
              <a:t/>
            </a:r>
            <a:br>
              <a:rPr lang="en-IN" sz="2800" b="1" dirty="0">
                <a:cs typeface="Calibri"/>
              </a:rPr>
            </a:br>
            <a:r>
              <a:rPr lang="en-IN" sz="2800">
                <a:ea typeface="+mn-lt"/>
                <a:cs typeface="+mn-lt"/>
              </a:rPr>
              <a:t>Overview of Banking</a:t>
            </a:r>
            <a:r>
              <a:rPr lang="en-US" sz="2800" dirty="0">
                <a:ea typeface="+mn-lt"/>
                <a:cs typeface="+mn-lt"/>
              </a:rPr>
              <a:t> </a:t>
            </a:r>
            <a:endParaRPr lang="en-US" sz="2800" dirty="0">
              <a:cs typeface="Calibri"/>
            </a:endParaRPr>
          </a:p>
        </p:txBody>
      </p:sp>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8289087" y="2379991"/>
            <a:ext cx="320327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IN" sz="2800" b="1">
                <a:solidFill>
                  <a:schemeClr val="tx2"/>
                </a:solidFill>
                <a:ea typeface="+mn-lt"/>
                <a:cs typeface="+mn-lt"/>
              </a:rPr>
              <a:t>Fresher Learning Program</a:t>
            </a:r>
            <a:endParaRPr lang="en-US" sz="2800">
              <a:solidFill>
                <a:schemeClr val="tx2"/>
              </a:solidFill>
              <a:cs typeface="Calibri"/>
            </a:endParaRPr>
          </a:p>
        </p:txBody>
      </p:sp>
    </p:spTree>
    <p:extLst>
      <p:ext uri="{BB962C8B-B14F-4D97-AF65-F5344CB8AC3E}">
        <p14:creationId xmlns:p14="http://schemas.microsoft.com/office/powerpoint/2010/main" val="25273115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endParaRPr lang="en-US" sz="2400"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Reserve / Central Bank in Other Countries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10</a:t>
            </a:fld>
            <a:endParaRPr lang="hi-IN"/>
          </a:p>
        </p:txBody>
      </p:sp>
      <p:graphicFrame>
        <p:nvGraphicFramePr>
          <p:cNvPr id="5" name="Table 4"/>
          <p:cNvGraphicFramePr>
            <a:graphicFrameLocks noGrp="1"/>
          </p:cNvGraphicFramePr>
          <p:nvPr>
            <p:extLst>
              <p:ext uri="{D42A27DB-BD31-4B8C-83A1-F6EECF244321}">
                <p14:modId xmlns:p14="http://schemas.microsoft.com/office/powerpoint/2010/main" val="844122746"/>
              </p:ext>
            </p:extLst>
          </p:nvPr>
        </p:nvGraphicFramePr>
        <p:xfrm>
          <a:off x="736600" y="1722966"/>
          <a:ext cx="8128000" cy="22250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969216154"/>
                    </a:ext>
                  </a:extLst>
                </a:gridCol>
                <a:gridCol w="4064000">
                  <a:extLst>
                    <a:ext uri="{9D8B030D-6E8A-4147-A177-3AD203B41FA5}">
                      <a16:colId xmlns:a16="http://schemas.microsoft.com/office/drawing/2014/main" val="4185247496"/>
                    </a:ext>
                  </a:extLst>
                </a:gridCol>
              </a:tblGrid>
              <a:tr h="370840">
                <a:tc>
                  <a:txBody>
                    <a:bodyPr/>
                    <a:lstStyle/>
                    <a:p>
                      <a:pPr algn="ctr"/>
                      <a:r>
                        <a:rPr lang="en-IN" dirty="0" smtClean="0"/>
                        <a:t>Country </a:t>
                      </a:r>
                      <a:endParaRPr lang="en-IN" dirty="0"/>
                    </a:p>
                  </a:txBody>
                  <a:tcPr/>
                </a:tc>
                <a:tc>
                  <a:txBody>
                    <a:bodyPr/>
                    <a:lstStyle/>
                    <a:p>
                      <a:pPr algn="ctr"/>
                      <a:r>
                        <a:rPr lang="en-IN" dirty="0" smtClean="0"/>
                        <a:t>Name of Central Bank</a:t>
                      </a:r>
                      <a:endParaRPr lang="en-IN" dirty="0"/>
                    </a:p>
                  </a:txBody>
                  <a:tcPr/>
                </a:tc>
                <a:extLst>
                  <a:ext uri="{0D108BD9-81ED-4DB2-BD59-A6C34878D82A}">
                    <a16:rowId xmlns:a16="http://schemas.microsoft.com/office/drawing/2014/main" val="4188604766"/>
                  </a:ext>
                </a:extLst>
              </a:tr>
              <a:tr h="370840">
                <a:tc>
                  <a:txBody>
                    <a:bodyPr/>
                    <a:lstStyle/>
                    <a:p>
                      <a:r>
                        <a:rPr lang="en-IN" dirty="0" smtClean="0"/>
                        <a:t>Qatar</a:t>
                      </a:r>
                      <a:endParaRPr lang="en-IN" dirty="0"/>
                    </a:p>
                  </a:txBody>
                  <a:tcPr/>
                </a:tc>
                <a:tc>
                  <a:txBody>
                    <a:bodyPr/>
                    <a:lstStyle/>
                    <a:p>
                      <a:r>
                        <a:rPr lang="en-IN" dirty="0" smtClean="0"/>
                        <a:t>Qatar</a:t>
                      </a:r>
                      <a:r>
                        <a:rPr lang="en-IN" baseline="0" dirty="0" smtClean="0"/>
                        <a:t> Central Bank</a:t>
                      </a:r>
                      <a:endParaRPr lang="en-IN" dirty="0"/>
                    </a:p>
                  </a:txBody>
                  <a:tcPr/>
                </a:tc>
                <a:extLst>
                  <a:ext uri="{0D108BD9-81ED-4DB2-BD59-A6C34878D82A}">
                    <a16:rowId xmlns:a16="http://schemas.microsoft.com/office/drawing/2014/main" val="1825111813"/>
                  </a:ext>
                </a:extLst>
              </a:tr>
              <a:tr h="370840">
                <a:tc>
                  <a:txBody>
                    <a:bodyPr/>
                    <a:lstStyle/>
                    <a:p>
                      <a:r>
                        <a:rPr lang="en-IN" dirty="0" smtClean="0"/>
                        <a:t>Saudi</a:t>
                      </a:r>
                      <a:r>
                        <a:rPr lang="en-IN" baseline="0" dirty="0" smtClean="0"/>
                        <a:t> Arabia</a:t>
                      </a:r>
                      <a:endParaRPr lang="en-IN" dirty="0"/>
                    </a:p>
                  </a:txBody>
                  <a:tcPr/>
                </a:tc>
                <a:tc>
                  <a:txBody>
                    <a:bodyPr/>
                    <a:lstStyle/>
                    <a:p>
                      <a:r>
                        <a:rPr lang="en-IN" dirty="0" smtClean="0"/>
                        <a:t>Saudi</a:t>
                      </a:r>
                      <a:r>
                        <a:rPr lang="en-IN" baseline="0" dirty="0" smtClean="0"/>
                        <a:t> Arabian Monetary Agency </a:t>
                      </a:r>
                      <a:endParaRPr lang="en-IN" dirty="0"/>
                    </a:p>
                  </a:txBody>
                  <a:tcPr/>
                </a:tc>
                <a:extLst>
                  <a:ext uri="{0D108BD9-81ED-4DB2-BD59-A6C34878D82A}">
                    <a16:rowId xmlns:a16="http://schemas.microsoft.com/office/drawing/2014/main" val="530150974"/>
                  </a:ext>
                </a:extLst>
              </a:tr>
              <a:tr h="370840">
                <a:tc>
                  <a:txBody>
                    <a:bodyPr/>
                    <a:lstStyle/>
                    <a:p>
                      <a:r>
                        <a:rPr lang="en-IN" dirty="0" smtClean="0"/>
                        <a:t>United Arab Emirates</a:t>
                      </a:r>
                      <a:endParaRPr lang="en-IN" dirty="0"/>
                    </a:p>
                  </a:txBody>
                  <a:tcPr/>
                </a:tc>
                <a:tc>
                  <a:txBody>
                    <a:bodyPr/>
                    <a:lstStyle/>
                    <a:p>
                      <a:r>
                        <a:rPr lang="en-IN" dirty="0" smtClean="0"/>
                        <a:t>UAE</a:t>
                      </a:r>
                      <a:r>
                        <a:rPr lang="en-IN" baseline="0" dirty="0" smtClean="0"/>
                        <a:t> Central Bank</a:t>
                      </a:r>
                      <a:endParaRPr lang="en-IN" dirty="0"/>
                    </a:p>
                  </a:txBody>
                  <a:tcPr/>
                </a:tc>
                <a:extLst>
                  <a:ext uri="{0D108BD9-81ED-4DB2-BD59-A6C34878D82A}">
                    <a16:rowId xmlns:a16="http://schemas.microsoft.com/office/drawing/2014/main" val="4266091645"/>
                  </a:ext>
                </a:extLst>
              </a:tr>
              <a:tr h="370840">
                <a:tc>
                  <a:txBody>
                    <a:bodyPr/>
                    <a:lstStyle/>
                    <a:p>
                      <a:r>
                        <a:rPr lang="en-IN" dirty="0" smtClean="0"/>
                        <a:t>United Kingdom</a:t>
                      </a:r>
                      <a:endParaRPr lang="en-IN" dirty="0"/>
                    </a:p>
                  </a:txBody>
                  <a:tcPr/>
                </a:tc>
                <a:tc>
                  <a:txBody>
                    <a:bodyPr/>
                    <a:lstStyle/>
                    <a:p>
                      <a:r>
                        <a:rPr lang="en-IN" dirty="0" smtClean="0"/>
                        <a:t>Bank of England</a:t>
                      </a:r>
                      <a:endParaRPr lang="en-IN" dirty="0"/>
                    </a:p>
                  </a:txBody>
                  <a:tcPr/>
                </a:tc>
                <a:extLst>
                  <a:ext uri="{0D108BD9-81ED-4DB2-BD59-A6C34878D82A}">
                    <a16:rowId xmlns:a16="http://schemas.microsoft.com/office/drawing/2014/main" val="1734961769"/>
                  </a:ext>
                </a:extLst>
              </a:tr>
              <a:tr h="370840">
                <a:tc>
                  <a:txBody>
                    <a:bodyPr/>
                    <a:lstStyle/>
                    <a:p>
                      <a:r>
                        <a:rPr lang="en-IN" dirty="0" smtClean="0"/>
                        <a:t>United States of America</a:t>
                      </a:r>
                      <a:endParaRPr lang="en-IN" dirty="0"/>
                    </a:p>
                  </a:txBody>
                  <a:tcPr/>
                </a:tc>
                <a:tc>
                  <a:txBody>
                    <a:bodyPr/>
                    <a:lstStyle/>
                    <a:p>
                      <a:r>
                        <a:rPr lang="en-IN" dirty="0" smtClean="0"/>
                        <a:t>Federal Reserve System</a:t>
                      </a:r>
                      <a:endParaRPr lang="en-IN" dirty="0"/>
                    </a:p>
                  </a:txBody>
                  <a:tcPr/>
                </a:tc>
                <a:extLst>
                  <a:ext uri="{0D108BD9-81ED-4DB2-BD59-A6C34878D82A}">
                    <a16:rowId xmlns:a16="http://schemas.microsoft.com/office/drawing/2014/main" val="2980957746"/>
                  </a:ext>
                </a:extLst>
              </a:tr>
            </a:tbl>
          </a:graphicData>
        </a:graphic>
      </p:graphicFrame>
    </p:spTree>
    <p:extLst>
      <p:ext uri="{BB962C8B-B14F-4D97-AF65-F5344CB8AC3E}">
        <p14:creationId xmlns:p14="http://schemas.microsoft.com/office/powerpoint/2010/main" val="15269366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5DFFBB-0039-404E-89A8-E6A45C88906E}"/>
              </a:ext>
            </a:extLst>
          </p:cNvPr>
          <p:cNvSpPr>
            <a:spLocks noGrp="1"/>
          </p:cNvSpPr>
          <p:nvPr>
            <p:ph idx="1"/>
          </p:nvPr>
        </p:nvSpPr>
        <p:spPr>
          <a:xfrm>
            <a:off x="536274" y="1106757"/>
            <a:ext cx="10713631" cy="5113337"/>
          </a:xfrm>
        </p:spPr>
        <p:txBody>
          <a:bodyPr vert="horz" lIns="91440" tIns="45720" rIns="91440" bIns="45720" rtlCol="0" anchor="t">
            <a:normAutofit/>
          </a:bodyPr>
          <a:lstStyle/>
          <a:p>
            <a:pPr marL="358775" indent="0" algn="just">
              <a:lnSpc>
                <a:spcPct val="100000"/>
              </a:lnSpc>
              <a:spcBef>
                <a:spcPts val="200"/>
              </a:spcBef>
              <a:spcAft>
                <a:spcPct val="0"/>
              </a:spcAft>
              <a:buNone/>
            </a:pPr>
            <a:endParaRPr lang="en-IN" sz="2000" b="1" dirty="0">
              <a:cs typeface="Calibri"/>
            </a:endParaRPr>
          </a:p>
          <a:p>
            <a:pPr marL="742950" lvl="1" indent="-285750">
              <a:lnSpc>
                <a:spcPct val="80000"/>
              </a:lnSpc>
              <a:spcBef>
                <a:spcPct val="20000"/>
              </a:spcBef>
              <a:spcAft>
                <a:spcPct val="0"/>
              </a:spcAft>
              <a:buNone/>
            </a:pPr>
            <a:endParaRPr lang="en-US" sz="2000" dirty="0">
              <a:ea typeface="+mn-lt"/>
              <a:cs typeface="+mn-lt"/>
            </a:endParaRPr>
          </a:p>
        </p:txBody>
      </p:sp>
      <p:sp>
        <p:nvSpPr>
          <p:cNvPr id="3" name="Title 2">
            <a:extLst>
              <a:ext uri="{FF2B5EF4-FFF2-40B4-BE49-F238E27FC236}">
                <a16:creationId xmlns:a16="http://schemas.microsoft.com/office/drawing/2014/main" id="{CBA9A7F6-7BC2-4A20-9548-6438F71AB093}"/>
              </a:ext>
            </a:extLst>
          </p:cNvPr>
          <p:cNvSpPr>
            <a:spLocks noGrp="1"/>
          </p:cNvSpPr>
          <p:nvPr>
            <p:ph type="title"/>
          </p:nvPr>
        </p:nvSpPr>
        <p:spPr>
          <a:xfrm>
            <a:off x="533401" y="188840"/>
            <a:ext cx="9690100" cy="424732"/>
          </a:xfrm>
        </p:spPr>
        <p:txBody>
          <a:bodyPr/>
          <a:lstStyle/>
          <a:p>
            <a:r>
              <a:rPr lang="en-US" dirty="0">
                <a:cs typeface="Arial" panose="020B0604020202020204" pitchFamily="34" charset="0"/>
              </a:rPr>
              <a:t>Banking Scenario in India</a:t>
            </a:r>
          </a:p>
        </p:txBody>
      </p:sp>
      <p:sp>
        <p:nvSpPr>
          <p:cNvPr id="4" name="Slide Number Placeholder 3">
            <a:extLst>
              <a:ext uri="{FF2B5EF4-FFF2-40B4-BE49-F238E27FC236}">
                <a16:creationId xmlns:a16="http://schemas.microsoft.com/office/drawing/2014/main" id="{CE8D05D4-DA88-4D79-A82A-380F9A83B9C3}"/>
              </a:ext>
            </a:extLst>
          </p:cNvPr>
          <p:cNvSpPr>
            <a:spLocks noGrp="1"/>
          </p:cNvSpPr>
          <p:nvPr>
            <p:ph type="sldNum" sz="quarter" idx="12"/>
          </p:nvPr>
        </p:nvSpPr>
        <p:spPr/>
        <p:txBody>
          <a:bodyPr/>
          <a:lstStyle/>
          <a:p>
            <a:fld id="{C7F1B9D8-1D95-44B3-9E1C-E404196FC055}" type="slidenum">
              <a:rPr lang="hi-IN" smtClean="0"/>
              <a:t>11</a:t>
            </a:fld>
            <a:endParaRPr lang="hi-IN"/>
          </a:p>
        </p:txBody>
      </p:sp>
      <p:sp>
        <p:nvSpPr>
          <p:cNvPr id="6" name="TextBox 5">
            <a:extLst>
              <a:ext uri="{FF2B5EF4-FFF2-40B4-BE49-F238E27FC236}">
                <a16:creationId xmlns:a16="http://schemas.microsoft.com/office/drawing/2014/main" id="{64201533-4AAD-4073-B887-C06DD847C22B}"/>
              </a:ext>
            </a:extLst>
          </p:cNvPr>
          <p:cNvSpPr txBox="1"/>
          <p:nvPr/>
        </p:nvSpPr>
        <p:spPr>
          <a:xfrm>
            <a:off x="439948" y="1043796"/>
            <a:ext cx="11024558" cy="55810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spcBef>
                <a:spcPts val="600"/>
              </a:spcBef>
              <a:spcAft>
                <a:spcPts val="600"/>
              </a:spcAft>
            </a:pPr>
            <a:r>
              <a:rPr lang="en-IN" sz="2000" b="1" dirty="0">
                <a:ea typeface="+mn-lt"/>
                <a:cs typeface="+mn-lt"/>
              </a:rPr>
              <a:t>Legal and Regulatory provisions</a:t>
            </a:r>
            <a:endParaRPr lang="en-IN" sz="2000" dirty="0">
              <a:ea typeface="+mn-lt"/>
              <a:cs typeface="+mn-lt"/>
            </a:endParaRPr>
          </a:p>
          <a:p>
            <a:pPr marL="342900" indent="-342900" algn="just">
              <a:spcBef>
                <a:spcPts val="600"/>
              </a:spcBef>
              <a:spcAft>
                <a:spcPts val="600"/>
              </a:spcAft>
              <a:buFont typeface="Wingdings"/>
              <a:buChar char="§"/>
            </a:pPr>
            <a:r>
              <a:rPr lang="en-IN" sz="2000" dirty="0">
                <a:ea typeface="+mn-lt"/>
                <a:cs typeface="+mn-lt"/>
              </a:rPr>
              <a:t>Key laws to control and regulate banking in India - </a:t>
            </a:r>
            <a:endParaRPr lang="en-US" sz="2000" dirty="0">
              <a:ea typeface="+mn-lt"/>
              <a:cs typeface="+mn-lt"/>
            </a:endParaRPr>
          </a:p>
          <a:p>
            <a:pPr marL="342900" indent="-342900" algn="just">
              <a:spcBef>
                <a:spcPts val="600"/>
              </a:spcBef>
              <a:spcAft>
                <a:spcPts val="600"/>
              </a:spcAft>
              <a:buFont typeface="Wingdings"/>
              <a:buChar char="§"/>
            </a:pPr>
            <a:r>
              <a:rPr lang="en-IN" sz="2000" dirty="0">
                <a:ea typeface="+mn-lt"/>
                <a:cs typeface="+mn-lt"/>
              </a:rPr>
              <a:t>The Reserve Bank of India (RBI) Act, 1934 – Empowers RBI,  the central bank of India, to control and regulate the banking business</a:t>
            </a:r>
            <a:endParaRPr lang="en-US" sz="2000" dirty="0">
              <a:ea typeface="+mn-lt"/>
              <a:cs typeface="+mn-lt"/>
            </a:endParaRPr>
          </a:p>
          <a:p>
            <a:pPr marL="342900" indent="-342900" algn="just">
              <a:spcBef>
                <a:spcPts val="600"/>
              </a:spcBef>
              <a:spcAft>
                <a:spcPts val="600"/>
              </a:spcAft>
              <a:buFont typeface="Wingdings"/>
              <a:buChar char="§"/>
            </a:pPr>
            <a:r>
              <a:rPr lang="en-IN" sz="2000" dirty="0">
                <a:ea typeface="+mn-lt"/>
                <a:cs typeface="+mn-lt"/>
              </a:rPr>
              <a:t>Banking Regulations Act 1949 – Defines the business of banking, its rules and regulations</a:t>
            </a:r>
            <a:endParaRPr lang="en-US" sz="2000" dirty="0">
              <a:ea typeface="+mn-lt"/>
              <a:cs typeface="+mn-lt"/>
            </a:endParaRPr>
          </a:p>
          <a:p>
            <a:pPr marL="342900" indent="-342900" algn="just">
              <a:spcBef>
                <a:spcPts val="600"/>
              </a:spcBef>
              <a:spcAft>
                <a:spcPts val="600"/>
              </a:spcAft>
              <a:buFont typeface="Wingdings"/>
              <a:buChar char="§"/>
            </a:pPr>
            <a:r>
              <a:rPr lang="en-IN" sz="2000" dirty="0">
                <a:ea typeface="+mn-lt"/>
                <a:cs typeface="+mn-lt"/>
              </a:rPr>
              <a:t>Negotiable Instruments Act 1881 – Rules to deal with negotiable instruments - cheques, bills of exchange and promissory notes</a:t>
            </a:r>
            <a:endParaRPr lang="en-US" sz="2000" dirty="0">
              <a:ea typeface="+mn-lt"/>
              <a:cs typeface="+mn-lt"/>
            </a:endParaRPr>
          </a:p>
          <a:p>
            <a:pPr marL="342900" indent="-342900" algn="just">
              <a:spcBef>
                <a:spcPts val="600"/>
              </a:spcBef>
              <a:spcAft>
                <a:spcPts val="600"/>
              </a:spcAft>
              <a:buFont typeface="Wingdings"/>
              <a:buChar char="§"/>
            </a:pPr>
            <a:r>
              <a:rPr lang="en-IN" sz="2000" dirty="0">
                <a:ea typeface="+mn-lt"/>
                <a:cs typeface="+mn-lt"/>
              </a:rPr>
              <a:t>Bankers’ Books Evidence Act 1891 – for record keeping of banking </a:t>
            </a:r>
            <a:r>
              <a:rPr lang="en-IN" sz="2000" dirty="0" err="1" smtClean="0">
                <a:ea typeface="+mn-lt"/>
                <a:cs typeface="+mn-lt"/>
              </a:rPr>
              <a:t>trnx</a:t>
            </a:r>
            <a:endParaRPr lang="en-IN" sz="2000" dirty="0" smtClean="0">
              <a:ea typeface="+mn-lt"/>
              <a:cs typeface="+mn-lt"/>
            </a:endParaRPr>
          </a:p>
          <a:p>
            <a:pPr marL="342900" indent="-342900" algn="just">
              <a:spcBef>
                <a:spcPts val="600"/>
              </a:spcBef>
              <a:spcAft>
                <a:spcPts val="600"/>
              </a:spcAft>
              <a:buFont typeface="Wingdings"/>
              <a:buChar char="§"/>
            </a:pPr>
            <a:r>
              <a:rPr lang="en-IN" sz="2000" dirty="0" smtClean="0">
                <a:ea typeface="+mn-lt"/>
                <a:cs typeface="+mn-lt"/>
              </a:rPr>
              <a:t>Foreign </a:t>
            </a:r>
            <a:r>
              <a:rPr lang="en-IN" sz="2000" dirty="0">
                <a:ea typeface="+mn-lt"/>
                <a:cs typeface="+mn-lt"/>
              </a:rPr>
              <a:t>Exchange Management Act 1999 – Foreign exchange to facilitate external trade and payments, investment avenues for NRIs and foreign direct investment in India </a:t>
            </a:r>
            <a:endParaRPr lang="en-US" sz="2000" dirty="0">
              <a:ea typeface="+mn-lt"/>
              <a:cs typeface="+mn-lt"/>
            </a:endParaRPr>
          </a:p>
          <a:p>
            <a:pPr marL="342900" indent="-342900" algn="just">
              <a:spcBef>
                <a:spcPts val="600"/>
              </a:spcBef>
              <a:spcAft>
                <a:spcPts val="600"/>
              </a:spcAft>
              <a:buFont typeface="Wingdings"/>
              <a:buChar char="§"/>
            </a:pPr>
            <a:r>
              <a:rPr lang="en-US" sz="2000" dirty="0">
                <a:ea typeface="+mn-lt"/>
                <a:cs typeface="+mn-lt"/>
              </a:rPr>
              <a:t>“Payment and Settlement System Act 2002 - </a:t>
            </a:r>
            <a:r>
              <a:rPr lang="en-IN" sz="2000" dirty="0">
                <a:ea typeface="+mn-lt"/>
                <a:cs typeface="+mn-lt"/>
              </a:rPr>
              <a:t>Provides for regulation and supervision of payment systems in India"</a:t>
            </a:r>
            <a:endParaRPr lang="en-IN" dirty="0">
              <a:cs typeface="Calibri"/>
            </a:endParaRPr>
          </a:p>
          <a:p>
            <a:pPr marL="342900" indent="-342900">
              <a:spcBef>
                <a:spcPts val="200"/>
              </a:spcBef>
              <a:spcAft>
                <a:spcPct val="0"/>
              </a:spcAft>
              <a:buFont typeface="Wingdings"/>
              <a:buChar char="v"/>
            </a:pPr>
            <a:endParaRPr lang="en-IN" sz="2000" b="1" dirty="0">
              <a:cs typeface="Calibri"/>
            </a:endParaRPr>
          </a:p>
          <a:p>
            <a:pPr marL="342900" indent="-342900" algn="l">
              <a:buFont typeface="Wingdings"/>
              <a:buChar char="v"/>
            </a:pPr>
            <a:endParaRPr lang="en-US" sz="2000" dirty="0">
              <a:cs typeface="Calibri"/>
            </a:endParaRPr>
          </a:p>
        </p:txBody>
      </p:sp>
    </p:spTree>
    <p:extLst>
      <p:ext uri="{BB962C8B-B14F-4D97-AF65-F5344CB8AC3E}">
        <p14:creationId xmlns:p14="http://schemas.microsoft.com/office/powerpoint/2010/main" val="17664508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490450" y="1263413"/>
            <a:ext cx="10713631" cy="4946887"/>
          </a:xfrm>
        </p:spPr>
        <p:txBody>
          <a:bodyPr vert="horz" lIns="91440" tIns="45720" rIns="91440" bIns="45720" rtlCol="0" anchor="t">
            <a:normAutofit/>
          </a:bodyPr>
          <a:lstStyle/>
          <a:p>
            <a:pPr marL="0" indent="0">
              <a:buNone/>
            </a:pPr>
            <a:r>
              <a:rPr lang="en-US" sz="2000" dirty="0"/>
              <a:t>Core Banking solutions are vital to the day-to-day functioning of any bank. It is an integral part of the banking technology which aims to serve their clients and customer with the best services. In simple words, core banking solutions are account-management back-end and front-end processes</a:t>
            </a:r>
            <a:r>
              <a:rPr lang="en-US" sz="2000" dirty="0" smtClean="0"/>
              <a:t>.</a:t>
            </a:r>
          </a:p>
          <a:p>
            <a:pPr marL="0" indent="0">
              <a:buNone/>
            </a:pPr>
            <a:endParaRPr lang="en-US" sz="2000" dirty="0"/>
          </a:p>
          <a:p>
            <a:pPr marL="0" indent="0">
              <a:buNone/>
            </a:pPr>
            <a:r>
              <a:rPr lang="en-US" sz="2000" dirty="0"/>
              <a:t>Core is short for “Centralized Online Real-time Exchange.” As the name suggests, it is a centralized system or a network created by a bank and its branches. This allows the customers of the bank to access, manage and perform basic transactions from any branch of the bank they hold an account in. Thus, core banking software allows the banks to create a centralized data </a:t>
            </a:r>
            <a:r>
              <a:rPr lang="en-US" sz="2000" dirty="0" smtClean="0"/>
              <a:t>center.</a:t>
            </a:r>
          </a:p>
          <a:p>
            <a:pPr marL="0" indent="0">
              <a:buNone/>
            </a:pPr>
            <a:endParaRPr lang="en-US" sz="2000" dirty="0"/>
          </a:p>
          <a:p>
            <a:pPr marL="0" indent="0">
              <a:buNone/>
            </a:pPr>
            <a:r>
              <a:rPr lang="en-US" sz="2000" dirty="0"/>
              <a:t>Some of the basic core banking solutions include deposit accounts, loans, payments and more. With the help of core banking software, these services are made available to the bank’s customers through ATMs, internet banking, mobile banking, and brick and mortar bank branches. Core banking system uses Information Communication Technology as a platform for its various applications to simplify banking procedures and processes.</a:t>
            </a:r>
          </a:p>
          <a:p>
            <a:pPr algn="just">
              <a:lnSpc>
                <a:spcPct val="100000"/>
              </a:lnSpc>
              <a:spcBef>
                <a:spcPts val="600"/>
              </a:spcBef>
              <a:spcAft>
                <a:spcPts val="600"/>
              </a:spcAft>
              <a:buFont typeface="Wingdings" panose="05000000000000000000" pitchFamily="2" charset="2"/>
              <a:buChar char="§"/>
            </a:pPr>
            <a:endParaRPr lang="en-US" sz="2000" dirty="0">
              <a:cs typeface="Calibri"/>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Core Banking System</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12</a:t>
            </a:fld>
            <a:endParaRPr lang="hi-IN"/>
          </a:p>
        </p:txBody>
      </p:sp>
    </p:spTree>
    <p:extLst>
      <p:ext uri="{BB962C8B-B14F-4D97-AF65-F5344CB8AC3E}">
        <p14:creationId xmlns:p14="http://schemas.microsoft.com/office/powerpoint/2010/main" val="36143849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1C50E5-AF0B-497D-BC37-A797B28AA356}"/>
              </a:ext>
            </a:extLst>
          </p:cNvPr>
          <p:cNvSpPr>
            <a:spLocks noGrp="1"/>
          </p:cNvSpPr>
          <p:nvPr>
            <p:ph idx="1"/>
          </p:nvPr>
        </p:nvSpPr>
        <p:spPr>
          <a:xfrm>
            <a:off x="263105" y="1006115"/>
            <a:ext cx="10713631" cy="5400884"/>
          </a:xfrm>
        </p:spPr>
        <p:txBody>
          <a:bodyPr vert="horz" lIns="91440" tIns="45720" rIns="91440" bIns="45720" rtlCol="0" anchor="t">
            <a:normAutofit/>
          </a:bodyPr>
          <a:lstStyle/>
          <a:p>
            <a:pPr lvl="1" algn="just">
              <a:lnSpc>
                <a:spcPct val="100000"/>
              </a:lnSpc>
              <a:spcBef>
                <a:spcPts val="200"/>
              </a:spcBef>
              <a:spcAft>
                <a:spcPct val="0"/>
              </a:spcAft>
              <a:buFont typeface="Wingdings" panose="05000000000000000000" pitchFamily="2" charset="2"/>
              <a:buChar char="§"/>
            </a:pPr>
            <a:r>
              <a:rPr lang="en-IN" sz="2000" dirty="0">
                <a:cs typeface="Calibri"/>
              </a:rPr>
              <a:t>Customer of the bank across all branches</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Real time on-line 24 hours banking through branch, ATM, Internet, Mobile &amp; Merchant Establishments </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Centralized operations, moving out processing tasks from branches</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Instant availability of account information to customer</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Instant and accurate availability of MIS to management</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Reduced need for system related skills at branches</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Uniform delivery of service to customer experience across the bank</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Enhanced services and products to customers </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More time to management and branch staff for sales and customer service</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smtClean="0">
                <a:cs typeface="Calibri"/>
              </a:rPr>
              <a:t>Improved </a:t>
            </a:r>
            <a:r>
              <a:rPr lang="en-IN" sz="2000" dirty="0">
                <a:cs typeface="Calibri"/>
              </a:rPr>
              <a:t>monitoring of credit – reduced NPA</a:t>
            </a:r>
            <a:endParaRPr lang="en-US" sz="2000" dirty="0">
              <a:ea typeface="+mn-lt"/>
              <a:cs typeface="+mn-lt"/>
            </a:endParaRPr>
          </a:p>
          <a:p>
            <a:pPr lvl="1" algn="just">
              <a:lnSpc>
                <a:spcPct val="100000"/>
              </a:lnSpc>
              <a:spcBef>
                <a:spcPts val="200"/>
              </a:spcBef>
              <a:spcAft>
                <a:spcPct val="0"/>
              </a:spcAft>
              <a:buFont typeface="Wingdings" panose="05000000000000000000" pitchFamily="2" charset="2"/>
              <a:buChar char="§"/>
            </a:pPr>
            <a:r>
              <a:rPr lang="en-IN" sz="2000" dirty="0">
                <a:cs typeface="Calibri"/>
              </a:rPr>
              <a:t>Improved control on transactions – better housekeeping</a:t>
            </a:r>
            <a:endParaRPr lang="en-US" sz="2000" dirty="0">
              <a:cs typeface="Calibri"/>
            </a:endParaRPr>
          </a:p>
        </p:txBody>
      </p:sp>
      <p:sp>
        <p:nvSpPr>
          <p:cNvPr id="3" name="Title 2">
            <a:extLst>
              <a:ext uri="{FF2B5EF4-FFF2-40B4-BE49-F238E27FC236}">
                <a16:creationId xmlns:a16="http://schemas.microsoft.com/office/drawing/2014/main" id="{73EB1844-4D59-4E99-8909-B59C69BBECF1}"/>
              </a:ext>
            </a:extLst>
          </p:cNvPr>
          <p:cNvSpPr>
            <a:spLocks noGrp="1"/>
          </p:cNvSpPr>
          <p:nvPr>
            <p:ph type="title"/>
          </p:nvPr>
        </p:nvSpPr>
        <p:spPr>
          <a:xfrm>
            <a:off x="267812" y="204264"/>
            <a:ext cx="9690100" cy="424732"/>
          </a:xfrm>
        </p:spPr>
        <p:txBody>
          <a:bodyPr/>
          <a:lstStyle/>
          <a:p>
            <a:r>
              <a:rPr lang="en-US" dirty="0">
                <a:cs typeface="Arial" panose="020B0604020202020204" pitchFamily="34" charset="0"/>
              </a:rPr>
              <a:t>Key Factors of Core Banking System</a:t>
            </a:r>
          </a:p>
        </p:txBody>
      </p:sp>
      <p:sp>
        <p:nvSpPr>
          <p:cNvPr id="4" name="Slide Number Placeholder 3">
            <a:extLst>
              <a:ext uri="{FF2B5EF4-FFF2-40B4-BE49-F238E27FC236}">
                <a16:creationId xmlns:a16="http://schemas.microsoft.com/office/drawing/2014/main" id="{31EFC2CD-FA04-4261-9EA1-38FCDA33306E}"/>
              </a:ext>
            </a:extLst>
          </p:cNvPr>
          <p:cNvSpPr>
            <a:spLocks noGrp="1"/>
          </p:cNvSpPr>
          <p:nvPr>
            <p:ph type="sldNum" sz="quarter" idx="12"/>
          </p:nvPr>
        </p:nvSpPr>
        <p:spPr/>
        <p:txBody>
          <a:bodyPr/>
          <a:lstStyle/>
          <a:p>
            <a:fld id="{C7F1B9D8-1D95-44B3-9E1C-E404196FC055}" type="slidenum">
              <a:rPr lang="hi-IN" smtClean="0"/>
              <a:t>13</a:t>
            </a:fld>
            <a:endParaRPr lang="hi-IN"/>
          </a:p>
        </p:txBody>
      </p:sp>
    </p:spTree>
    <p:extLst>
      <p:ext uri="{BB962C8B-B14F-4D97-AF65-F5344CB8AC3E}">
        <p14:creationId xmlns:p14="http://schemas.microsoft.com/office/powerpoint/2010/main" val="25210961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95400" y="1346200"/>
            <a:ext cx="9156700" cy="4381500"/>
          </a:xfrm>
        </p:spPr>
      </p:pic>
      <p:sp>
        <p:nvSpPr>
          <p:cNvPr id="3" name="Title 2">
            <a:extLst>
              <a:ext uri="{FF2B5EF4-FFF2-40B4-BE49-F238E27FC236}">
                <a16:creationId xmlns:a16="http://schemas.microsoft.com/office/drawing/2014/main" id="{73EB1844-4D59-4E99-8909-B59C69BBECF1}"/>
              </a:ext>
            </a:extLst>
          </p:cNvPr>
          <p:cNvSpPr>
            <a:spLocks noGrp="1"/>
          </p:cNvSpPr>
          <p:nvPr>
            <p:ph type="title"/>
          </p:nvPr>
        </p:nvSpPr>
        <p:spPr>
          <a:xfrm>
            <a:off x="267812" y="204264"/>
            <a:ext cx="9690100" cy="424732"/>
          </a:xfrm>
        </p:spPr>
        <p:txBody>
          <a:bodyPr/>
          <a:lstStyle/>
          <a:p>
            <a:r>
              <a:rPr lang="en-US" dirty="0" smtClean="0">
                <a:cs typeface="Arial" panose="020B0604020202020204" pitchFamily="34" charset="0"/>
              </a:rPr>
              <a:t>Core </a:t>
            </a:r>
            <a:r>
              <a:rPr lang="en-US" dirty="0">
                <a:cs typeface="Arial" panose="020B0604020202020204" pitchFamily="34" charset="0"/>
              </a:rPr>
              <a:t>Banking </a:t>
            </a:r>
            <a:r>
              <a:rPr lang="en-US" dirty="0" smtClean="0">
                <a:cs typeface="Arial" panose="020B0604020202020204" pitchFamily="34" charset="0"/>
              </a:rPr>
              <a:t>Software Companies</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1EFC2CD-FA04-4261-9EA1-38FCDA33306E}"/>
              </a:ext>
            </a:extLst>
          </p:cNvPr>
          <p:cNvSpPr>
            <a:spLocks noGrp="1"/>
          </p:cNvSpPr>
          <p:nvPr>
            <p:ph type="sldNum" sz="quarter" idx="12"/>
          </p:nvPr>
        </p:nvSpPr>
        <p:spPr/>
        <p:txBody>
          <a:bodyPr/>
          <a:lstStyle/>
          <a:p>
            <a:fld id="{C7F1B9D8-1D95-44B3-9E1C-E404196FC055}" type="slidenum">
              <a:rPr lang="hi-IN" smtClean="0"/>
              <a:t>14</a:t>
            </a:fld>
            <a:endParaRPr lang="hi-IN"/>
          </a:p>
        </p:txBody>
      </p:sp>
    </p:spTree>
    <p:extLst>
      <p:ext uri="{BB962C8B-B14F-4D97-AF65-F5344CB8AC3E}">
        <p14:creationId xmlns:p14="http://schemas.microsoft.com/office/powerpoint/2010/main" val="810496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Diagram&#10;&#10;Description automatically generated">
            <a:extLst>
              <a:ext uri="{FF2B5EF4-FFF2-40B4-BE49-F238E27FC236}">
                <a16:creationId xmlns:a16="http://schemas.microsoft.com/office/drawing/2014/main" id="{359B8B99-D0F7-4812-8DF3-2FB2B002C6E6}"/>
              </a:ext>
            </a:extLst>
          </p:cNvPr>
          <p:cNvPicPr>
            <a:picLocks noGrp="1" noChangeAspect="1"/>
          </p:cNvPicPr>
          <p:nvPr>
            <p:ph idx="1"/>
          </p:nvPr>
        </p:nvPicPr>
        <p:blipFill>
          <a:blip r:embed="rId2"/>
          <a:stretch>
            <a:fillRect/>
          </a:stretch>
        </p:blipFill>
        <p:spPr>
          <a:xfrm>
            <a:off x="239657" y="1221776"/>
            <a:ext cx="10746147" cy="5228356"/>
          </a:xfrm>
        </p:spPr>
      </p:pic>
      <p:sp>
        <p:nvSpPr>
          <p:cNvPr id="4" name="Slide Number Placeholder 3">
            <a:extLst>
              <a:ext uri="{FF2B5EF4-FFF2-40B4-BE49-F238E27FC236}">
                <a16:creationId xmlns:a16="http://schemas.microsoft.com/office/drawing/2014/main" id="{DDF706CD-5392-4B6D-932E-8344F403A8EB}"/>
              </a:ext>
            </a:extLst>
          </p:cNvPr>
          <p:cNvSpPr>
            <a:spLocks noGrp="1"/>
          </p:cNvSpPr>
          <p:nvPr>
            <p:ph type="sldNum" sz="quarter" idx="12"/>
          </p:nvPr>
        </p:nvSpPr>
        <p:spPr/>
        <p:txBody>
          <a:bodyPr/>
          <a:lstStyle/>
          <a:p>
            <a:fld id="{C7F1B9D8-1D95-44B3-9E1C-E404196FC055}" type="slidenum">
              <a:rPr lang="hi-IN" smtClean="0"/>
              <a:t>15</a:t>
            </a:fld>
            <a:endParaRPr lang="hi-IN"/>
          </a:p>
        </p:txBody>
      </p:sp>
    </p:spTree>
    <p:extLst>
      <p:ext uri="{BB962C8B-B14F-4D97-AF65-F5344CB8AC3E}">
        <p14:creationId xmlns:p14="http://schemas.microsoft.com/office/powerpoint/2010/main" val="20131555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Diagram&#10;&#10;Description automatically generated">
            <a:extLst>
              <a:ext uri="{FF2B5EF4-FFF2-40B4-BE49-F238E27FC236}">
                <a16:creationId xmlns:a16="http://schemas.microsoft.com/office/drawing/2014/main" id="{D32DB9BC-7A1A-485D-BFF2-EA3285AD4AF7}"/>
              </a:ext>
            </a:extLst>
          </p:cNvPr>
          <p:cNvPicPr>
            <a:picLocks noGrp="1" noChangeAspect="1"/>
          </p:cNvPicPr>
          <p:nvPr>
            <p:ph idx="1"/>
          </p:nvPr>
        </p:nvPicPr>
        <p:blipFill>
          <a:blip r:embed="rId2"/>
          <a:stretch>
            <a:fillRect/>
          </a:stretch>
        </p:blipFill>
        <p:spPr>
          <a:xfrm>
            <a:off x="1039370" y="1207398"/>
            <a:ext cx="9879969" cy="5257111"/>
          </a:xfrm>
        </p:spPr>
      </p:pic>
      <p:sp>
        <p:nvSpPr>
          <p:cNvPr id="4" name="Slide Number Placeholder 3">
            <a:extLst>
              <a:ext uri="{FF2B5EF4-FFF2-40B4-BE49-F238E27FC236}">
                <a16:creationId xmlns:a16="http://schemas.microsoft.com/office/drawing/2014/main" id="{F0624812-B994-4705-9E0B-68E413CA0A02}"/>
              </a:ext>
            </a:extLst>
          </p:cNvPr>
          <p:cNvSpPr>
            <a:spLocks noGrp="1"/>
          </p:cNvSpPr>
          <p:nvPr>
            <p:ph type="sldNum" sz="quarter" idx="12"/>
          </p:nvPr>
        </p:nvSpPr>
        <p:spPr/>
        <p:txBody>
          <a:bodyPr/>
          <a:lstStyle/>
          <a:p>
            <a:fld id="{C7F1B9D8-1D95-44B3-9E1C-E404196FC055}" type="slidenum">
              <a:rPr lang="hi-IN" smtClean="0"/>
              <a:t>16</a:t>
            </a:fld>
            <a:endParaRPr lang="hi-IN"/>
          </a:p>
        </p:txBody>
      </p:sp>
    </p:spTree>
    <p:extLst>
      <p:ext uri="{BB962C8B-B14F-4D97-AF65-F5344CB8AC3E}">
        <p14:creationId xmlns:p14="http://schemas.microsoft.com/office/powerpoint/2010/main" val="34251715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DF706CD-5392-4B6D-932E-8344F403A8EB}"/>
              </a:ext>
            </a:extLst>
          </p:cNvPr>
          <p:cNvSpPr>
            <a:spLocks noGrp="1"/>
          </p:cNvSpPr>
          <p:nvPr>
            <p:ph type="sldNum" sz="quarter" idx="12"/>
          </p:nvPr>
        </p:nvSpPr>
        <p:spPr/>
        <p:txBody>
          <a:bodyPr/>
          <a:lstStyle/>
          <a:p>
            <a:fld id="{C7F1B9D8-1D95-44B3-9E1C-E404196FC055}" type="slidenum">
              <a:rPr lang="hi-IN" smtClean="0"/>
              <a:t>17</a:t>
            </a:fld>
            <a:endParaRPr lang="hi-IN"/>
          </a:p>
        </p:txBody>
      </p:sp>
      <p:pic>
        <p:nvPicPr>
          <p:cNvPr id="7" name="Content Placeholder 6"/>
          <p:cNvPicPr>
            <a:picLocks noGrp="1" noChangeAspect="1"/>
          </p:cNvPicPr>
          <p:nvPr>
            <p:ph idx="1"/>
          </p:nvPr>
        </p:nvPicPr>
        <p:blipFill>
          <a:blip r:embed="rId2"/>
          <a:stretch>
            <a:fillRect/>
          </a:stretch>
        </p:blipFill>
        <p:spPr>
          <a:xfrm>
            <a:off x="1206500" y="1447800"/>
            <a:ext cx="10236200" cy="4686300"/>
          </a:xfrm>
          <a:prstGeom prst="rect">
            <a:avLst/>
          </a:prstGeom>
        </p:spPr>
      </p:pic>
    </p:spTree>
    <p:extLst>
      <p:ext uri="{BB962C8B-B14F-4D97-AF65-F5344CB8AC3E}">
        <p14:creationId xmlns:p14="http://schemas.microsoft.com/office/powerpoint/2010/main" val="14387068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624812-B994-4705-9E0B-68E413CA0A02}"/>
              </a:ext>
            </a:extLst>
          </p:cNvPr>
          <p:cNvSpPr>
            <a:spLocks noGrp="1"/>
          </p:cNvSpPr>
          <p:nvPr>
            <p:ph type="sldNum" sz="quarter" idx="12"/>
          </p:nvPr>
        </p:nvSpPr>
        <p:spPr/>
        <p:txBody>
          <a:bodyPr/>
          <a:lstStyle/>
          <a:p>
            <a:fld id="{C7F1B9D8-1D95-44B3-9E1C-E404196FC055}" type="slidenum">
              <a:rPr lang="hi-IN" smtClean="0"/>
              <a:t>18</a:t>
            </a:fld>
            <a:endParaRPr lang="hi-IN"/>
          </a:p>
        </p:txBody>
      </p:sp>
      <p:pic>
        <p:nvPicPr>
          <p:cNvPr id="7" name="Object 12" descr="Diagram&#10;&#10;Description automatically generated">
            <a:extLst>
              <a:ext uri="{FF2B5EF4-FFF2-40B4-BE49-F238E27FC236}">
                <a16:creationId xmlns:a16="http://schemas.microsoft.com/office/drawing/2014/main" id="{23794965-4F45-4D64-81F3-AC8657D0C70C}"/>
              </a:ext>
            </a:extLst>
          </p:cNvPr>
          <p:cNvPicPr>
            <a:picLocks noChangeArrowheads="1"/>
          </p:cNvPicPr>
          <p:nvPr/>
        </p:nvPicPr>
        <p:blipFill>
          <a:blip r:embed="rId2" cstate="print"/>
          <a:srcRect b="-171"/>
          <a:stretch>
            <a:fillRect/>
          </a:stretch>
        </p:blipFill>
        <p:spPr bwMode="auto">
          <a:xfrm>
            <a:off x="842512" y="1179510"/>
            <a:ext cx="10221898" cy="5007453"/>
          </a:xfrm>
          <a:prstGeom prst="rect">
            <a:avLst/>
          </a:prstGeom>
          <a:noFill/>
          <a:ln w="9525">
            <a:noFill/>
            <a:miter lim="800000"/>
            <a:headEnd/>
            <a:tailEnd/>
          </a:ln>
        </p:spPr>
      </p:pic>
    </p:spTree>
    <p:extLst>
      <p:ext uri="{BB962C8B-B14F-4D97-AF65-F5344CB8AC3E}">
        <p14:creationId xmlns:p14="http://schemas.microsoft.com/office/powerpoint/2010/main" val="7191797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a:bodyPr>
          <a:lstStyle/>
          <a:p>
            <a:pPr marL="0" indent="0" algn="just">
              <a:lnSpc>
                <a:spcPct val="100000"/>
              </a:lnSpc>
              <a:spcBef>
                <a:spcPts val="600"/>
              </a:spcBef>
              <a:spcAft>
                <a:spcPts val="600"/>
              </a:spcAft>
              <a:buNone/>
            </a:pPr>
            <a:r>
              <a:rPr lang="en-US" sz="2000" dirty="0">
                <a:cs typeface="Calibri"/>
              </a:rPr>
              <a:t> </a:t>
            </a:r>
            <a:r>
              <a:rPr lang="en-US" sz="2400" dirty="0">
                <a:latin typeface="Calibri" panose="020F0502020204030204" pitchFamily="34" charset="0"/>
                <a:cs typeface="Calibri" panose="020F0502020204030204" pitchFamily="34" charset="0"/>
              </a:rPr>
              <a:t>An automated teller machine (ATM) is an electronic banking outlet that allows customers to complete basic transactions without the aid of a branch representative or teller. Anyone with a credit card or debit card can access cash at most ATMs.</a:t>
            </a:r>
          </a:p>
          <a:p>
            <a:pPr marL="0" indent="0" algn="just">
              <a:lnSpc>
                <a:spcPct val="100000"/>
              </a:lnSpc>
              <a:spcBef>
                <a:spcPts val="600"/>
              </a:spcBef>
              <a:spcAft>
                <a:spcPts val="600"/>
              </a:spcAft>
              <a:buNone/>
            </a:pPr>
            <a:endParaRPr lang="en-US" sz="2400" dirty="0">
              <a:latin typeface="Calibri" panose="020F0502020204030204" pitchFamily="34" charset="0"/>
              <a:cs typeface="Calibri" panose="020F0502020204030204" pitchFamily="34" charset="0"/>
            </a:endParaRPr>
          </a:p>
          <a:p>
            <a:pPr marL="0" indent="0" algn="just">
              <a:lnSpc>
                <a:spcPct val="100000"/>
              </a:lnSpc>
              <a:spcBef>
                <a:spcPts val="600"/>
              </a:spcBef>
              <a:spcAft>
                <a:spcPts val="600"/>
              </a:spcAft>
              <a:buNone/>
            </a:pPr>
            <a:r>
              <a:rPr lang="en-US" sz="2400" dirty="0">
                <a:latin typeface="Calibri" panose="020F0502020204030204" pitchFamily="34" charset="0"/>
                <a:cs typeface="Calibri" panose="020F0502020204030204" pitchFamily="34" charset="0"/>
              </a:rPr>
              <a:t>ATMs are convenient, allowing consumers to perform quick self-service transactions such as deposits, cash withdrawals, bill payments, and transfers between accounts. Fees are commonly charged for cash withdrawals by the bank where the account is located, by the operator of the ATM, or by both. Some or all of these fees can be avoided by using an ATM operated directly by the bank that holds the account. </a:t>
            </a: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Automated Teller Machine</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19</a:t>
            </a:fld>
            <a:endParaRPr lang="hi-IN"/>
          </a:p>
        </p:txBody>
      </p:sp>
    </p:spTree>
    <p:extLst>
      <p:ext uri="{BB962C8B-B14F-4D97-AF65-F5344CB8AC3E}">
        <p14:creationId xmlns:p14="http://schemas.microsoft.com/office/powerpoint/2010/main" val="10874891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4926701"/>
          </a:xfrm>
        </p:spPr>
        <p:txBody>
          <a:bodyPr vert="horz" lIns="91440" tIns="45720" rIns="91440" bIns="45720" rtlCol="0" anchor="t">
            <a:noAutofit/>
          </a:bodyPr>
          <a:lstStyle/>
          <a:p>
            <a:pPr marL="0" indent="0">
              <a:lnSpc>
                <a:spcPct val="100000"/>
              </a:lnSpc>
              <a:spcBef>
                <a:spcPts val="0"/>
              </a:spcBef>
              <a:spcAft>
                <a:spcPct val="0"/>
              </a:spcAft>
              <a:buNone/>
            </a:pPr>
            <a:endParaRPr lang="en-IN" sz="2000" b="1" dirty="0" smtClean="0">
              <a:cs typeface="Calibri"/>
            </a:endParaRPr>
          </a:p>
          <a:p>
            <a:pPr marL="0" indent="0">
              <a:lnSpc>
                <a:spcPct val="100000"/>
              </a:lnSpc>
              <a:spcBef>
                <a:spcPts val="0"/>
              </a:spcBef>
              <a:spcAft>
                <a:spcPct val="0"/>
              </a:spcAft>
              <a:buNone/>
            </a:pPr>
            <a:r>
              <a:rPr lang="en-US" sz="2000" b="1" dirty="0">
                <a:cs typeface="Calibri"/>
              </a:rPr>
              <a:t> </a:t>
            </a:r>
            <a:r>
              <a:rPr lang="en-US" sz="2400" dirty="0">
                <a:cs typeface="Calibri"/>
              </a:rPr>
              <a:t>A bank is a financial institution licensed to receive deposits and make loans. Banks may also provide financial services such as wealth management, currency exchange, and safe deposit boxes. There are several different kinds of banks including retail banks, commercial or corporate banks, and investment banks. In most countries, banks are regulated by the national government or central bank</a:t>
            </a:r>
            <a:r>
              <a:rPr lang="en-US" sz="2400" dirty="0" smtClean="0">
                <a:cs typeface="Calibri"/>
              </a:rPr>
              <a:t>.</a:t>
            </a:r>
          </a:p>
          <a:p>
            <a:pPr marL="0" indent="0">
              <a:lnSpc>
                <a:spcPct val="100000"/>
              </a:lnSpc>
              <a:spcBef>
                <a:spcPts val="0"/>
              </a:spcBef>
              <a:spcAft>
                <a:spcPct val="0"/>
              </a:spcAft>
              <a:buNone/>
            </a:pPr>
            <a:endParaRPr lang="en-US" sz="2400" dirty="0">
              <a:cs typeface="Calibri"/>
            </a:endParaRPr>
          </a:p>
          <a:p>
            <a:pPr marL="0" indent="0">
              <a:lnSpc>
                <a:spcPct val="100000"/>
              </a:lnSpc>
              <a:spcBef>
                <a:spcPts val="0"/>
              </a:spcBef>
              <a:spcAft>
                <a:spcPct val="0"/>
              </a:spcAft>
              <a:buNone/>
            </a:pPr>
            <a:r>
              <a:rPr lang="en-US" sz="2400" dirty="0"/>
              <a:t>Banks are a very important part of the economy because they provide vital services for both consumers and </a:t>
            </a:r>
            <a:r>
              <a:rPr lang="en-US" sz="2400" dirty="0" smtClean="0"/>
              <a:t>business. </a:t>
            </a:r>
            <a:r>
              <a:rPr lang="en-US" sz="2400" dirty="0"/>
              <a:t>As financial services providers, they give you a safe place to store your cash. Through a variety of account types such as checking and savings accounts, and certificates of deposit (CDs), you can conduct routine banking transactions like deposits, withdrawals, check writing, and bill payments. You can also save your money and earn interest on your investment</a:t>
            </a:r>
            <a:r>
              <a:rPr lang="en-US" sz="2400" dirty="0" smtClean="0"/>
              <a:t>.</a:t>
            </a:r>
            <a:endParaRPr lang="en-US" sz="2400" dirty="0">
              <a:cs typeface="Calibri"/>
            </a:endParaRPr>
          </a:p>
          <a:p>
            <a:pPr marL="0" indent="0">
              <a:lnSpc>
                <a:spcPct val="100000"/>
              </a:lnSpc>
              <a:spcBef>
                <a:spcPts val="0"/>
              </a:spcBef>
              <a:spcAft>
                <a:spcPct val="0"/>
              </a:spcAft>
              <a:buNone/>
            </a:pPr>
            <a:endParaRPr lang="en-IN" sz="24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What is a Bank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2</a:t>
            </a:fld>
            <a:endParaRPr lang="hi-IN"/>
          </a:p>
        </p:txBody>
      </p:sp>
    </p:spTree>
    <p:extLst>
      <p:ext uri="{BB962C8B-B14F-4D97-AF65-F5344CB8AC3E}">
        <p14:creationId xmlns:p14="http://schemas.microsoft.com/office/powerpoint/2010/main" val="9802494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fontScale="92500" lnSpcReduction="10000"/>
          </a:bodyPr>
          <a:lstStyle/>
          <a:p>
            <a:pPr marL="0" indent="0" algn="just">
              <a:lnSpc>
                <a:spcPct val="100000"/>
              </a:lnSpc>
              <a:spcBef>
                <a:spcPts val="600"/>
              </a:spcBef>
              <a:spcAft>
                <a:spcPts val="600"/>
              </a:spcAft>
              <a:buNone/>
            </a:pPr>
            <a:r>
              <a:rPr lang="en-US" sz="2000" b="1" dirty="0">
                <a:cs typeface="Calibri"/>
              </a:rPr>
              <a:t> </a:t>
            </a:r>
            <a:r>
              <a:rPr lang="en-US" sz="2000" b="1" dirty="0" smtClean="0">
                <a:cs typeface="Calibri"/>
              </a:rPr>
              <a:t> </a:t>
            </a:r>
            <a:endParaRPr lang="en-US" sz="2600" dirty="0">
              <a:latin typeface="Calibri" panose="020F0502020204030204" pitchFamily="34" charset="0"/>
              <a:cs typeface="Calibri" panose="020F0502020204030204" pitchFamily="34" charset="0"/>
            </a:endParaRP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Cash Withdrawal</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Cash Deposit to Account</a:t>
            </a:r>
          </a:p>
          <a:p>
            <a:pPr algn="just">
              <a:lnSpc>
                <a:spcPct val="100000"/>
              </a:lnSpc>
              <a:spcBef>
                <a:spcPts val="600"/>
              </a:spcBef>
              <a:spcAft>
                <a:spcPts val="600"/>
              </a:spcAft>
              <a:buFont typeface="Wingdings" panose="05000000000000000000" pitchFamily="2" charset="2"/>
              <a:buChar char="Ø"/>
            </a:pPr>
            <a:r>
              <a:rPr lang="en-US" sz="2600" dirty="0" err="1" smtClean="0">
                <a:latin typeface="Calibri" panose="020F0502020204030204" pitchFamily="34" charset="0"/>
                <a:cs typeface="Calibri" panose="020F0502020204030204" pitchFamily="34" charset="0"/>
              </a:rPr>
              <a:t>Cheque</a:t>
            </a:r>
            <a:r>
              <a:rPr lang="en-US" sz="2600" dirty="0" smtClean="0">
                <a:latin typeface="Calibri" panose="020F0502020204030204" pitchFamily="34" charset="0"/>
                <a:cs typeface="Calibri" panose="020F0502020204030204" pitchFamily="34" charset="0"/>
              </a:rPr>
              <a:t> Deposit</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Balance Enquiry</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Mini Statement</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Credit Card Payment</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Utility Payments</a:t>
            </a:r>
          </a:p>
          <a:p>
            <a:pPr algn="just">
              <a:lnSpc>
                <a:spcPct val="100000"/>
              </a:lnSpc>
              <a:spcBef>
                <a:spcPts val="600"/>
              </a:spcBef>
              <a:spcAft>
                <a:spcPts val="600"/>
              </a:spcAft>
              <a:buFont typeface="Wingdings" panose="05000000000000000000" pitchFamily="2" charset="2"/>
              <a:buChar char="Ø"/>
            </a:pPr>
            <a:r>
              <a:rPr lang="en-US" sz="2600" dirty="0" err="1" smtClean="0">
                <a:latin typeface="Calibri" panose="020F0502020204030204" pitchFamily="34" charset="0"/>
                <a:cs typeface="Calibri" panose="020F0502020204030204" pitchFamily="34" charset="0"/>
              </a:rPr>
              <a:t>Cheque</a:t>
            </a:r>
            <a:r>
              <a:rPr lang="en-US" sz="2600" dirty="0" smtClean="0">
                <a:latin typeface="Calibri" panose="020F0502020204030204" pitchFamily="34" charset="0"/>
                <a:cs typeface="Calibri" panose="020F0502020204030204" pitchFamily="34" charset="0"/>
              </a:rPr>
              <a:t> Book request</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Pin Change</a:t>
            </a:r>
          </a:p>
          <a:p>
            <a:pPr marL="0" indent="0" algn="just">
              <a:lnSpc>
                <a:spcPct val="100000"/>
              </a:lnSpc>
              <a:spcBef>
                <a:spcPts val="600"/>
              </a:spcBef>
              <a:spcAft>
                <a:spcPts val="600"/>
              </a:spcAft>
              <a:buNone/>
            </a:pPr>
            <a:r>
              <a:rPr lang="en-US" sz="2000" dirty="0" smtClean="0">
                <a:latin typeface="Calibri" panose="020F0502020204030204" pitchFamily="34" charset="0"/>
                <a:cs typeface="Calibri"/>
              </a:rPr>
              <a:t>	</a:t>
            </a:r>
          </a:p>
          <a:p>
            <a:pPr algn="just">
              <a:lnSpc>
                <a:spcPct val="100000"/>
              </a:lnSpc>
              <a:spcBef>
                <a:spcPts val="600"/>
              </a:spcBef>
              <a:spcAft>
                <a:spcPts val="600"/>
              </a:spcAft>
              <a:buFont typeface="Wingdings" panose="05000000000000000000" pitchFamily="2" charset="2"/>
              <a:buChar char="Ø"/>
            </a:pPr>
            <a:endParaRPr lang="en-US" sz="2000" dirty="0" smtClean="0">
              <a:latin typeface="Calibri" panose="020F0502020204030204" pitchFamily="34" charset="0"/>
              <a:cs typeface="Calibri"/>
            </a:endParaRPr>
          </a:p>
          <a:p>
            <a:pPr marL="0" indent="0" algn="just">
              <a:lnSpc>
                <a:spcPct val="100000"/>
              </a:lnSpc>
              <a:spcBef>
                <a:spcPts val="600"/>
              </a:spcBef>
              <a:spcAft>
                <a:spcPts val="60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Features of Automated Teller Machine (ATM)</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0</a:t>
            </a:fld>
            <a:endParaRPr lang="hi-IN"/>
          </a:p>
        </p:txBody>
      </p:sp>
    </p:spTree>
    <p:extLst>
      <p:ext uri="{BB962C8B-B14F-4D97-AF65-F5344CB8AC3E}">
        <p14:creationId xmlns:p14="http://schemas.microsoft.com/office/powerpoint/2010/main" val="251626960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a:bodyPr>
          <a:lstStyle/>
          <a:p>
            <a:pPr marL="0" indent="0" algn="just">
              <a:lnSpc>
                <a:spcPct val="100000"/>
              </a:lnSpc>
              <a:spcBef>
                <a:spcPts val="600"/>
              </a:spcBef>
              <a:spcAft>
                <a:spcPts val="600"/>
              </a:spcAft>
              <a:buNone/>
            </a:pPr>
            <a:r>
              <a:rPr lang="en-US" sz="2000" dirty="0">
                <a:cs typeface="Calibri"/>
              </a:rPr>
              <a:t> </a:t>
            </a:r>
            <a:r>
              <a:rPr lang="en-US" sz="2400" b="1" dirty="0"/>
              <a:t>Telephone banking</a:t>
            </a:r>
            <a:r>
              <a:rPr lang="en-US" sz="2400" dirty="0"/>
              <a:t> is a service provided by a </a:t>
            </a:r>
            <a:r>
              <a:rPr lang="en-US" sz="2400" b="1" dirty="0"/>
              <a:t>bank</a:t>
            </a:r>
            <a:r>
              <a:rPr lang="en-US" sz="2400" dirty="0"/>
              <a:t> or other financial institution, that enables customers to perform over the </a:t>
            </a:r>
            <a:r>
              <a:rPr lang="en-US" sz="2400" b="1" dirty="0"/>
              <a:t>telephone</a:t>
            </a:r>
            <a:r>
              <a:rPr lang="en-US" sz="2400" dirty="0"/>
              <a:t> a range of financial transactions which do not involve cash or Financial instruments (such as </a:t>
            </a:r>
            <a:r>
              <a:rPr lang="en-US" sz="2400" dirty="0" err="1"/>
              <a:t>cheques</a:t>
            </a:r>
            <a:r>
              <a:rPr lang="en-US" sz="2400" dirty="0"/>
              <a:t>), without the need to visit a </a:t>
            </a:r>
            <a:r>
              <a:rPr lang="en-US" sz="2400" b="1" dirty="0"/>
              <a:t>bank</a:t>
            </a:r>
            <a:r>
              <a:rPr lang="en-US" sz="2400" dirty="0"/>
              <a:t> branch or ATM</a:t>
            </a:r>
            <a:r>
              <a:rPr lang="en-US" sz="2400" dirty="0" smtClean="0"/>
              <a:t>.</a:t>
            </a:r>
          </a:p>
          <a:p>
            <a:pPr marL="0" indent="0" algn="just">
              <a:lnSpc>
                <a:spcPct val="100000"/>
              </a:lnSpc>
              <a:spcBef>
                <a:spcPts val="600"/>
              </a:spcBef>
              <a:spcAft>
                <a:spcPts val="600"/>
              </a:spcAft>
              <a:buNone/>
            </a:pPr>
            <a:endParaRPr lang="en-US" sz="2400" dirty="0" smtClean="0">
              <a:latin typeface="Calibri" panose="020F0502020204030204" pitchFamily="34" charset="0"/>
              <a:cs typeface="Calibri" panose="020F0502020204030204" pitchFamily="34" charset="0"/>
            </a:endParaRPr>
          </a:p>
          <a:p>
            <a:pPr marL="0" indent="0" algn="just">
              <a:lnSpc>
                <a:spcPct val="100000"/>
              </a:lnSpc>
              <a:spcBef>
                <a:spcPts val="600"/>
              </a:spcBef>
              <a:spcAft>
                <a:spcPts val="600"/>
              </a:spcAft>
              <a:buNone/>
            </a:pPr>
            <a:r>
              <a:rPr lang="en-US" sz="2400" dirty="0"/>
              <a:t>Interactive Voice Response (IVR) is an automated phone system technology that allows incoming callers to access information via a voice response system of pre recorded messages without having to speak to an agent, as well as to utilize menu options via touch tone keypad selection or speech recognition to have their call routed to specific departments or specialists.</a:t>
            </a:r>
            <a:endParaRPr lang="en-US" sz="2400" dirty="0">
              <a:latin typeface="Calibri" panose="020F0502020204030204" pitchFamily="34" charset="0"/>
              <a:cs typeface="Calibri" panose="020F0502020204030204" pitchFamily="34" charset="0"/>
            </a:endParaRPr>
          </a:p>
          <a:p>
            <a:pPr marL="0" indent="0" algn="just">
              <a:lnSpc>
                <a:spcPct val="100000"/>
              </a:lnSpc>
              <a:spcBef>
                <a:spcPts val="600"/>
              </a:spcBef>
              <a:spcAft>
                <a:spcPts val="60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Phone Banking</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1</a:t>
            </a:fld>
            <a:endParaRPr lang="hi-IN"/>
          </a:p>
        </p:txBody>
      </p:sp>
    </p:spTree>
    <p:extLst>
      <p:ext uri="{BB962C8B-B14F-4D97-AF65-F5344CB8AC3E}">
        <p14:creationId xmlns:p14="http://schemas.microsoft.com/office/powerpoint/2010/main" val="26144364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lnSpcReduction="10000"/>
          </a:bodyPr>
          <a:lstStyle/>
          <a:p>
            <a:pPr marL="0" indent="0" algn="just">
              <a:lnSpc>
                <a:spcPct val="100000"/>
              </a:lnSpc>
              <a:spcBef>
                <a:spcPts val="600"/>
              </a:spcBef>
              <a:spcAft>
                <a:spcPts val="600"/>
              </a:spcAft>
              <a:buNone/>
            </a:pPr>
            <a:r>
              <a:rPr lang="en-US" sz="2000" b="1" dirty="0">
                <a:cs typeface="Calibri"/>
              </a:rPr>
              <a:t> </a:t>
            </a:r>
            <a:r>
              <a:rPr lang="en-US" sz="2000" b="1" dirty="0" smtClean="0">
                <a:cs typeface="Calibri"/>
              </a:rPr>
              <a:t> </a:t>
            </a:r>
            <a:endParaRPr lang="en-US" sz="2600" dirty="0">
              <a:latin typeface="Calibri" panose="020F0502020204030204" pitchFamily="34" charset="0"/>
              <a:cs typeface="Calibri" panose="020F0502020204030204" pitchFamily="34" charset="0"/>
            </a:endParaRPr>
          </a:p>
          <a:p>
            <a:pPr algn="just">
              <a:lnSpc>
                <a:spcPct val="100000"/>
              </a:lnSpc>
              <a:spcBef>
                <a:spcPts val="600"/>
              </a:spcBef>
              <a:spcAft>
                <a:spcPts val="600"/>
              </a:spcAft>
              <a:buFont typeface="Wingdings" panose="05000000000000000000" pitchFamily="2" charset="2"/>
              <a:buChar char="Ø"/>
            </a:pPr>
            <a:r>
              <a:rPr lang="en-US" sz="2600" dirty="0">
                <a:latin typeface="Calibri" panose="020F0502020204030204" pitchFamily="34" charset="0"/>
                <a:cs typeface="Calibri" panose="020F0502020204030204" pitchFamily="34" charset="0"/>
              </a:rPr>
              <a:t> </a:t>
            </a:r>
            <a:r>
              <a:rPr lang="en-US" sz="2600" dirty="0" smtClean="0">
                <a:latin typeface="Calibri" panose="020F0502020204030204" pitchFamily="34" charset="0"/>
                <a:cs typeface="Calibri" panose="020F0502020204030204" pitchFamily="34" charset="0"/>
              </a:rPr>
              <a:t>Account Related Information</a:t>
            </a:r>
          </a:p>
          <a:p>
            <a:pPr lvl="1" algn="just">
              <a:lnSpc>
                <a:spcPct val="100000"/>
              </a:lnSpc>
              <a:spcBef>
                <a:spcPts val="600"/>
              </a:spcBef>
              <a:spcAft>
                <a:spcPts val="600"/>
              </a:spcAft>
              <a:buFont typeface="Wingdings" panose="05000000000000000000" pitchFamily="2" charset="2"/>
              <a:buChar char="Ø"/>
            </a:pPr>
            <a:r>
              <a:rPr lang="en-US" sz="2200" dirty="0" smtClean="0">
                <a:latin typeface="Calibri" panose="020F0502020204030204" pitchFamily="34" charset="0"/>
                <a:cs typeface="Calibri" panose="020F0502020204030204" pitchFamily="34" charset="0"/>
              </a:rPr>
              <a:t>Account Balance</a:t>
            </a:r>
          </a:p>
          <a:p>
            <a:pPr lvl="1" algn="just">
              <a:lnSpc>
                <a:spcPct val="100000"/>
              </a:lnSpc>
              <a:spcBef>
                <a:spcPts val="600"/>
              </a:spcBef>
              <a:spcAft>
                <a:spcPts val="600"/>
              </a:spcAft>
              <a:buFont typeface="Wingdings" panose="05000000000000000000" pitchFamily="2" charset="2"/>
              <a:buChar char="Ø"/>
            </a:pPr>
            <a:r>
              <a:rPr lang="en-US" sz="2200" dirty="0" smtClean="0">
                <a:latin typeface="Calibri" panose="020F0502020204030204" pitchFamily="34" charset="0"/>
                <a:cs typeface="Calibri" panose="020F0502020204030204" pitchFamily="34" charset="0"/>
              </a:rPr>
              <a:t>Account Transactions</a:t>
            </a:r>
          </a:p>
          <a:p>
            <a:pPr lvl="1" algn="just">
              <a:lnSpc>
                <a:spcPct val="100000"/>
              </a:lnSpc>
              <a:spcBef>
                <a:spcPts val="600"/>
              </a:spcBef>
              <a:spcAft>
                <a:spcPts val="600"/>
              </a:spcAft>
              <a:buFont typeface="Wingdings" panose="05000000000000000000" pitchFamily="2" charset="2"/>
              <a:buChar char="Ø"/>
            </a:pPr>
            <a:r>
              <a:rPr lang="en-US" sz="2200" dirty="0" smtClean="0">
                <a:latin typeface="Calibri" panose="020F0502020204030204" pitchFamily="34" charset="0"/>
                <a:cs typeface="Calibri" panose="020F0502020204030204" pitchFamily="34" charset="0"/>
              </a:rPr>
              <a:t>Credit Card Transactions</a:t>
            </a:r>
          </a:p>
          <a:p>
            <a:pPr algn="just">
              <a:lnSpc>
                <a:spcPct val="100000"/>
              </a:lnSpc>
              <a:spcBef>
                <a:spcPts val="600"/>
              </a:spcBef>
              <a:spcAft>
                <a:spcPts val="600"/>
              </a:spcAft>
              <a:buFont typeface="Wingdings" panose="05000000000000000000" pitchFamily="2" charset="2"/>
              <a:buChar char="Ø"/>
            </a:pPr>
            <a:r>
              <a:rPr lang="en-US" sz="2600" dirty="0" err="1" smtClean="0">
                <a:latin typeface="Calibri" panose="020F0502020204030204" pitchFamily="34" charset="0"/>
                <a:cs typeface="Calibri" panose="020F0502020204030204" pitchFamily="34" charset="0"/>
              </a:rPr>
              <a:t>Cheque</a:t>
            </a:r>
            <a:r>
              <a:rPr lang="en-US" sz="2600" dirty="0" smtClean="0">
                <a:latin typeface="Calibri" panose="020F0502020204030204" pitchFamily="34" charset="0"/>
                <a:cs typeface="Calibri" panose="020F0502020204030204" pitchFamily="34" charset="0"/>
              </a:rPr>
              <a:t> Book Request</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Stop Payment of </a:t>
            </a:r>
            <a:r>
              <a:rPr lang="en-US" sz="2600" dirty="0" err="1" smtClean="0">
                <a:latin typeface="Calibri" panose="020F0502020204030204" pitchFamily="34" charset="0"/>
                <a:cs typeface="Calibri" panose="020F0502020204030204" pitchFamily="34" charset="0"/>
              </a:rPr>
              <a:t>Cheque</a:t>
            </a:r>
            <a:endParaRPr lang="en-US" sz="2600" dirty="0" smtClean="0">
              <a:latin typeface="Calibri" panose="020F0502020204030204" pitchFamily="34" charset="0"/>
              <a:cs typeface="Calibri" panose="020F0502020204030204" pitchFamily="34" charset="0"/>
            </a:endParaRP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Credit Card balance enquiry</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Blocking of Debit/ Credit Card</a:t>
            </a:r>
          </a:p>
          <a:p>
            <a:pPr algn="just">
              <a:lnSpc>
                <a:spcPct val="100000"/>
              </a:lnSpc>
              <a:spcBef>
                <a:spcPts val="600"/>
              </a:spcBef>
              <a:spcAft>
                <a:spcPts val="600"/>
              </a:spcAft>
              <a:buFont typeface="Wingdings" panose="05000000000000000000" pitchFamily="2" charset="2"/>
              <a:buChar char="Ø"/>
            </a:pPr>
            <a:r>
              <a:rPr lang="en-US" sz="2600" dirty="0" smtClean="0">
                <a:latin typeface="Calibri" panose="020F0502020204030204" pitchFamily="34" charset="0"/>
                <a:cs typeface="Calibri" panose="020F0502020204030204" pitchFamily="34" charset="0"/>
              </a:rPr>
              <a:t>Transfer of Funds</a:t>
            </a:r>
          </a:p>
          <a:p>
            <a:pPr marL="0" indent="0" algn="just">
              <a:lnSpc>
                <a:spcPct val="100000"/>
              </a:lnSpc>
              <a:spcBef>
                <a:spcPts val="600"/>
              </a:spcBef>
              <a:spcAft>
                <a:spcPts val="600"/>
              </a:spcAft>
              <a:buNone/>
            </a:pPr>
            <a:r>
              <a:rPr lang="en-US" sz="2000" dirty="0" smtClean="0">
                <a:latin typeface="Calibri" panose="020F0502020204030204" pitchFamily="34" charset="0"/>
                <a:cs typeface="Calibri"/>
              </a:rPr>
              <a:t>	</a:t>
            </a:r>
          </a:p>
          <a:p>
            <a:pPr algn="just">
              <a:lnSpc>
                <a:spcPct val="100000"/>
              </a:lnSpc>
              <a:spcBef>
                <a:spcPts val="600"/>
              </a:spcBef>
              <a:spcAft>
                <a:spcPts val="600"/>
              </a:spcAft>
              <a:buFont typeface="Wingdings" panose="05000000000000000000" pitchFamily="2" charset="2"/>
              <a:buChar char="Ø"/>
            </a:pPr>
            <a:endParaRPr lang="en-US" sz="2000" dirty="0" smtClean="0">
              <a:latin typeface="Calibri" panose="020F0502020204030204" pitchFamily="34" charset="0"/>
              <a:cs typeface="Calibri"/>
            </a:endParaRPr>
          </a:p>
          <a:p>
            <a:pPr marL="0" indent="0" algn="just">
              <a:lnSpc>
                <a:spcPct val="100000"/>
              </a:lnSpc>
              <a:spcBef>
                <a:spcPts val="600"/>
              </a:spcBef>
              <a:spcAft>
                <a:spcPts val="60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Features of Phone Banking</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2</a:t>
            </a:fld>
            <a:endParaRPr lang="hi-IN"/>
          </a:p>
        </p:txBody>
      </p:sp>
    </p:spTree>
    <p:extLst>
      <p:ext uri="{BB962C8B-B14F-4D97-AF65-F5344CB8AC3E}">
        <p14:creationId xmlns:p14="http://schemas.microsoft.com/office/powerpoint/2010/main" val="26075412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a:bodyPr>
          <a:lstStyle/>
          <a:p>
            <a:pPr marL="0" indent="0" algn="just">
              <a:lnSpc>
                <a:spcPct val="100000"/>
              </a:lnSpc>
              <a:spcBef>
                <a:spcPts val="600"/>
              </a:spcBef>
              <a:spcAft>
                <a:spcPts val="600"/>
              </a:spcAft>
              <a:buNone/>
            </a:pPr>
            <a:r>
              <a:rPr lang="en-US" sz="2000" dirty="0">
                <a:cs typeface="Calibri"/>
              </a:rPr>
              <a:t> </a:t>
            </a:r>
            <a:r>
              <a:rPr lang="en-US" sz="2400" b="1" dirty="0"/>
              <a:t>Online banking</a:t>
            </a:r>
            <a:r>
              <a:rPr lang="en-US" sz="2400" dirty="0"/>
              <a:t>, also known as </a:t>
            </a:r>
            <a:r>
              <a:rPr lang="en-US" sz="2400" b="1" dirty="0"/>
              <a:t>internet banking, web banking or home banking</a:t>
            </a:r>
            <a:r>
              <a:rPr lang="en-US" sz="2400" dirty="0"/>
              <a:t>, is an electronic payment </a:t>
            </a:r>
            <a:r>
              <a:rPr lang="en-US" sz="2400" dirty="0" smtClean="0"/>
              <a:t>system that </a:t>
            </a:r>
            <a:r>
              <a:rPr lang="en-US" sz="2400" dirty="0"/>
              <a:t>enables customers of a bank or other financial institution to conduct a range of financial transactions through the financial institution's website. </a:t>
            </a:r>
            <a:endParaRPr lang="en-US" sz="2400" dirty="0" smtClean="0"/>
          </a:p>
          <a:p>
            <a:pPr marL="0" indent="0" algn="just">
              <a:lnSpc>
                <a:spcPct val="100000"/>
              </a:lnSpc>
              <a:spcBef>
                <a:spcPts val="600"/>
              </a:spcBef>
              <a:spcAft>
                <a:spcPts val="600"/>
              </a:spcAft>
              <a:buNone/>
            </a:pPr>
            <a:r>
              <a:rPr lang="en-US" sz="2400" dirty="0" smtClean="0"/>
              <a:t>The </a:t>
            </a:r>
            <a:r>
              <a:rPr lang="en-US" sz="2400" dirty="0"/>
              <a:t>online banking system will typically connect to or be part of the core banking system operated by a bank to provide customers access to banking services in place of traditional branch banking. Online banking significantly reduces the banks' operating cost by reducing reliance on a branch network, and offers greater convenience to customers in time saving in coming to a branch and the convenience of being able to perform banking transactions even when branches are closed</a:t>
            </a:r>
            <a:r>
              <a:rPr lang="en-US" sz="2400" dirty="0" smtClean="0"/>
              <a:t>.</a:t>
            </a:r>
          </a:p>
          <a:p>
            <a:pPr marL="0" indent="0" algn="just">
              <a:lnSpc>
                <a:spcPct val="100000"/>
              </a:lnSpc>
              <a:spcBef>
                <a:spcPts val="600"/>
              </a:spcBef>
              <a:spcAft>
                <a:spcPts val="600"/>
              </a:spcAft>
              <a:buNone/>
            </a:pPr>
            <a:r>
              <a:rPr lang="en-US" sz="2400" dirty="0" smtClean="0"/>
              <a:t> </a:t>
            </a:r>
            <a:r>
              <a:rPr lang="en-US" sz="2400" dirty="0"/>
              <a:t>Internet banking provides personal and corporate banking services offering features such as viewing account balances, obtaining statements, checking recent transactions, transferring money between accounts, and making payments. </a:t>
            </a: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Online Banking</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3</a:t>
            </a:fld>
            <a:endParaRPr lang="hi-IN"/>
          </a:p>
        </p:txBody>
      </p:sp>
    </p:spTree>
    <p:extLst>
      <p:ext uri="{BB962C8B-B14F-4D97-AF65-F5344CB8AC3E}">
        <p14:creationId xmlns:p14="http://schemas.microsoft.com/office/powerpoint/2010/main" val="35494389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a:bodyPr>
          <a:lstStyle/>
          <a:p>
            <a:pPr marL="0" indent="0">
              <a:buNone/>
            </a:pPr>
            <a:endParaRPr lang="en-US" sz="2400" dirty="0" smtClean="0"/>
          </a:p>
          <a:p>
            <a:r>
              <a:rPr lang="en-US" sz="2400" dirty="0" smtClean="0"/>
              <a:t>Viewing </a:t>
            </a:r>
            <a:r>
              <a:rPr lang="en-US" sz="2400" dirty="0"/>
              <a:t>account </a:t>
            </a:r>
            <a:r>
              <a:rPr lang="en-US" sz="2400" dirty="0" smtClean="0"/>
              <a:t>balances</a:t>
            </a:r>
            <a:endParaRPr lang="en-US" sz="2400" dirty="0"/>
          </a:p>
          <a:p>
            <a:r>
              <a:rPr lang="en-US" sz="2400" dirty="0"/>
              <a:t>Viewing recent transactions</a:t>
            </a:r>
          </a:p>
          <a:p>
            <a:r>
              <a:rPr lang="en-US" sz="2400" dirty="0"/>
              <a:t>Downloading bank statements, for example in </a:t>
            </a:r>
            <a:r>
              <a:rPr lang="en-US" sz="2400" dirty="0">
                <a:hlinkClick r:id="rId2" tooltip="PDF"/>
              </a:rPr>
              <a:t>PDF</a:t>
            </a:r>
            <a:r>
              <a:rPr lang="en-US" sz="2400" dirty="0"/>
              <a:t> format</a:t>
            </a:r>
          </a:p>
          <a:p>
            <a:r>
              <a:rPr lang="en-US" sz="2400" dirty="0" smtClean="0"/>
              <a:t>Ordering </a:t>
            </a:r>
            <a:r>
              <a:rPr lang="en-US" sz="2400" dirty="0" err="1"/>
              <a:t>cheque</a:t>
            </a:r>
            <a:r>
              <a:rPr lang="en-US" sz="2400" dirty="0"/>
              <a:t> books</a:t>
            </a:r>
          </a:p>
          <a:p>
            <a:r>
              <a:rPr lang="en-US" sz="2400" dirty="0" smtClean="0"/>
              <a:t> Set up Standing Instructions</a:t>
            </a:r>
            <a:endParaRPr lang="en-US" sz="2400" dirty="0"/>
          </a:p>
          <a:p>
            <a:r>
              <a:rPr lang="en-US" sz="2400" dirty="0" smtClean="0"/>
              <a:t>Bill Payments ( Telephone, Utility Payments etc.).</a:t>
            </a:r>
          </a:p>
          <a:p>
            <a:r>
              <a:rPr lang="en-US" sz="2400" dirty="0" smtClean="0"/>
              <a:t>CASA Sweep In</a:t>
            </a:r>
          </a:p>
          <a:p>
            <a:r>
              <a:rPr lang="en-US" sz="2400" dirty="0" smtClean="0"/>
              <a:t>Open Fixed Deposits, Recurring Deposits</a:t>
            </a:r>
          </a:p>
          <a:p>
            <a:r>
              <a:rPr lang="en-US" sz="2400" dirty="0" smtClean="0"/>
              <a:t>View Fixed , Recurring Deposits balance</a:t>
            </a:r>
            <a:endParaRPr lang="en-US" sz="2400" dirty="0"/>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Features of Online Banking</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4</a:t>
            </a:fld>
            <a:endParaRPr lang="hi-IN"/>
          </a:p>
        </p:txBody>
      </p:sp>
    </p:spTree>
    <p:extLst>
      <p:ext uri="{BB962C8B-B14F-4D97-AF65-F5344CB8AC3E}">
        <p14:creationId xmlns:p14="http://schemas.microsoft.com/office/powerpoint/2010/main" val="21264597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a:bodyPr>
          <a:lstStyle/>
          <a:p>
            <a:pPr marL="0" indent="0">
              <a:buNone/>
            </a:pPr>
            <a:endParaRPr lang="en-US" sz="2400" dirty="0" smtClean="0"/>
          </a:p>
          <a:p>
            <a:r>
              <a:rPr lang="en-US" sz="2400" dirty="0" smtClean="0"/>
              <a:t>Liquidate Fixed Deposits</a:t>
            </a:r>
          </a:p>
          <a:p>
            <a:r>
              <a:rPr lang="en-US" sz="2400" dirty="0" smtClean="0"/>
              <a:t>Add / Delete Beneficiary</a:t>
            </a:r>
          </a:p>
          <a:p>
            <a:r>
              <a:rPr lang="en-US" sz="2400" dirty="0" smtClean="0"/>
              <a:t>Funds </a:t>
            </a:r>
            <a:r>
              <a:rPr lang="en-US" sz="2400" dirty="0"/>
              <a:t>transfers between the customer's linked </a:t>
            </a:r>
            <a:r>
              <a:rPr lang="en-US" sz="2400" dirty="0" smtClean="0"/>
              <a:t>accounts</a:t>
            </a:r>
          </a:p>
          <a:p>
            <a:r>
              <a:rPr lang="en-US" sz="2400" dirty="0" smtClean="0"/>
              <a:t>Domestic Payments ( RTGS, NEFT, IMPS)</a:t>
            </a:r>
          </a:p>
          <a:p>
            <a:r>
              <a:rPr lang="en-US" sz="2400" dirty="0" smtClean="0"/>
              <a:t>International Payments </a:t>
            </a:r>
            <a:endParaRPr lang="en-US" sz="2400" dirty="0"/>
          </a:p>
          <a:p>
            <a:r>
              <a:rPr lang="en-US" sz="2400" dirty="0" smtClean="0"/>
              <a:t>Investment </a:t>
            </a:r>
            <a:r>
              <a:rPr lang="en-US" sz="2400" dirty="0"/>
              <a:t>purchase or sale</a:t>
            </a:r>
          </a:p>
          <a:p>
            <a:r>
              <a:rPr lang="en-US" sz="2400" dirty="0"/>
              <a:t>Loan </a:t>
            </a:r>
            <a:r>
              <a:rPr lang="en-US" sz="2400" dirty="0" smtClean="0"/>
              <a:t>Accounts balances</a:t>
            </a:r>
            <a:endParaRPr lang="en-US" sz="2400" dirty="0"/>
          </a:p>
          <a:p>
            <a:r>
              <a:rPr lang="en-US" sz="2400" dirty="0"/>
              <a:t>Credit card </a:t>
            </a:r>
            <a:r>
              <a:rPr lang="en-US" sz="2400" dirty="0" smtClean="0"/>
              <a:t>Balance, Statement</a:t>
            </a:r>
          </a:p>
          <a:p>
            <a:r>
              <a:rPr lang="en-US" sz="2400" dirty="0" smtClean="0"/>
              <a:t>Credit Card Payment</a:t>
            </a:r>
          </a:p>
          <a:p>
            <a:r>
              <a:rPr lang="en-US" sz="2400" dirty="0" smtClean="0"/>
              <a:t>Transaction Limit Set up</a:t>
            </a:r>
            <a:endParaRPr lang="en-US" sz="2400" dirty="0"/>
          </a:p>
          <a:p>
            <a:pPr marL="0" indent="0">
              <a:buNone/>
            </a:pPr>
            <a:endParaRPr lang="en-US" sz="2400" dirty="0"/>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Features of Online Banking</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5</a:t>
            </a:fld>
            <a:endParaRPr lang="hi-IN"/>
          </a:p>
        </p:txBody>
      </p:sp>
    </p:spTree>
    <p:extLst>
      <p:ext uri="{BB962C8B-B14F-4D97-AF65-F5344CB8AC3E}">
        <p14:creationId xmlns:p14="http://schemas.microsoft.com/office/powerpoint/2010/main" val="32119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lnSpcReduction="10000"/>
          </a:bodyPr>
          <a:lstStyle/>
          <a:p>
            <a:pPr marL="0" indent="0" algn="just">
              <a:lnSpc>
                <a:spcPct val="100000"/>
              </a:lnSpc>
              <a:spcBef>
                <a:spcPts val="600"/>
              </a:spcBef>
              <a:spcAft>
                <a:spcPts val="600"/>
              </a:spcAft>
              <a:buNone/>
            </a:pPr>
            <a:r>
              <a:rPr lang="en-US" sz="2000" b="1" dirty="0" smtClean="0">
                <a:cs typeface="Calibri"/>
              </a:rPr>
              <a:t>Debit Card Number</a:t>
            </a:r>
          </a:p>
          <a:p>
            <a:pPr marL="0" indent="0" algn="just">
              <a:lnSpc>
                <a:spcPct val="100000"/>
              </a:lnSpc>
              <a:spcBef>
                <a:spcPts val="600"/>
              </a:spcBef>
              <a:spcAft>
                <a:spcPts val="600"/>
              </a:spcAft>
              <a:buNone/>
            </a:pPr>
            <a:r>
              <a:rPr lang="en-US" sz="2400" dirty="0"/>
              <a:t>The 16-digit number (often grouped into four’s) found on the front of your debit card is known as the </a:t>
            </a:r>
            <a:r>
              <a:rPr lang="en-US" sz="2400" b="1" dirty="0"/>
              <a:t>Card number</a:t>
            </a:r>
            <a:r>
              <a:rPr lang="en-US" sz="2400" dirty="0"/>
              <a:t>. This number is also known as your Card Identification number and it is also stored in your card’s magnetic chip/strip so that whenever you use your card at a POS or an ATM terminal, the card number is read by the machine. </a:t>
            </a:r>
            <a:endParaRPr lang="en-US" sz="2400" dirty="0" smtClean="0"/>
          </a:p>
          <a:p>
            <a:pPr marL="0" indent="0" algn="just">
              <a:lnSpc>
                <a:spcPct val="100000"/>
              </a:lnSpc>
              <a:spcBef>
                <a:spcPts val="600"/>
              </a:spcBef>
              <a:spcAft>
                <a:spcPts val="600"/>
              </a:spcAft>
              <a:buNone/>
            </a:pPr>
            <a:endParaRPr lang="en-US" sz="2400" dirty="0" smtClean="0">
              <a:latin typeface="Calibri" panose="020F0502020204030204" pitchFamily="34" charset="0"/>
              <a:cs typeface="Calibri" panose="020F0502020204030204" pitchFamily="34" charset="0"/>
            </a:endParaRPr>
          </a:p>
          <a:p>
            <a:pPr marL="0" indent="0" algn="just">
              <a:lnSpc>
                <a:spcPct val="100000"/>
              </a:lnSpc>
              <a:spcBef>
                <a:spcPts val="600"/>
              </a:spcBef>
              <a:spcAft>
                <a:spcPts val="600"/>
              </a:spcAft>
              <a:buNone/>
            </a:pPr>
            <a:r>
              <a:rPr lang="en-US" sz="2400" b="1" dirty="0"/>
              <a:t>Card Verification Value</a:t>
            </a:r>
            <a:endParaRPr lang="en-US" sz="2400" b="1" dirty="0">
              <a:latin typeface="Calibri" panose="020F0502020204030204" pitchFamily="34" charset="0"/>
              <a:cs typeface="Calibri" panose="020F0502020204030204" pitchFamily="34" charset="0"/>
            </a:endParaRPr>
          </a:p>
          <a:p>
            <a:pPr marL="0" indent="0" algn="just">
              <a:lnSpc>
                <a:spcPct val="100000"/>
              </a:lnSpc>
              <a:spcBef>
                <a:spcPts val="600"/>
              </a:spcBef>
              <a:spcAft>
                <a:spcPts val="600"/>
              </a:spcAft>
              <a:buNone/>
            </a:pPr>
            <a:r>
              <a:rPr lang="en-US" sz="2400" dirty="0"/>
              <a:t>CVV is the abbreviated form for Card Verification Value. CVV is a three-digit number that is always located on the rear of your card. It is often written in bold italics and is mostly required to complete online transactions like shopping, paying bills and subscriptions, etc. CVV is a security and fraud-prevention measure put in place to further ensure that you are truly the owner of the card you use in transacting online. Generally, CVV numbers are requested for when you aren’t using the physical debit card.</a:t>
            </a: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Debit Card</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6</a:t>
            </a:fld>
            <a:endParaRPr lang="hi-IN"/>
          </a:p>
        </p:txBody>
      </p:sp>
    </p:spTree>
    <p:extLst>
      <p:ext uri="{BB962C8B-B14F-4D97-AF65-F5344CB8AC3E}">
        <p14:creationId xmlns:p14="http://schemas.microsoft.com/office/powerpoint/2010/main" val="35027794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09EF96-F32A-4EB6-974D-953AB00ADF52}"/>
              </a:ext>
            </a:extLst>
          </p:cNvPr>
          <p:cNvSpPr>
            <a:spLocks noGrp="1"/>
          </p:cNvSpPr>
          <p:nvPr>
            <p:ph idx="1"/>
          </p:nvPr>
        </p:nvSpPr>
        <p:spPr>
          <a:xfrm>
            <a:off x="536274" y="962984"/>
            <a:ext cx="10713631" cy="5343375"/>
          </a:xfrm>
        </p:spPr>
        <p:txBody>
          <a:bodyPr vert="horz" lIns="91440" tIns="45720" rIns="91440" bIns="45720" rtlCol="0" anchor="t">
            <a:normAutofit/>
          </a:bodyPr>
          <a:lstStyle/>
          <a:p>
            <a:pPr marL="0" indent="0" algn="just">
              <a:lnSpc>
                <a:spcPct val="100000"/>
              </a:lnSpc>
              <a:spcBef>
                <a:spcPts val="600"/>
              </a:spcBef>
              <a:spcAft>
                <a:spcPts val="600"/>
              </a:spcAft>
              <a:buNone/>
            </a:pPr>
            <a:endParaRPr lang="en-US" sz="2400" dirty="0" smtClean="0">
              <a:latin typeface="Calibri" panose="020F0502020204030204" pitchFamily="34" charset="0"/>
              <a:cs typeface="Calibri" panose="020F0502020204030204" pitchFamily="34" charset="0"/>
            </a:endParaRPr>
          </a:p>
          <a:p>
            <a:pPr marL="0" indent="0" algn="just">
              <a:lnSpc>
                <a:spcPct val="100000"/>
              </a:lnSpc>
              <a:spcBef>
                <a:spcPts val="600"/>
              </a:spcBef>
              <a:spcAft>
                <a:spcPts val="600"/>
              </a:spcAft>
              <a:buNone/>
            </a:pPr>
            <a:r>
              <a:rPr lang="en-US" sz="2400" b="1" dirty="0" smtClean="0">
                <a:latin typeface="Calibri" panose="020F0502020204030204" pitchFamily="34" charset="0"/>
                <a:cs typeface="Calibri" panose="020F0502020204030204" pitchFamily="34" charset="0"/>
              </a:rPr>
              <a:t>Expiry Date of Debit Card</a:t>
            </a:r>
          </a:p>
          <a:p>
            <a:pPr marL="0" indent="0">
              <a:buNone/>
            </a:pPr>
            <a:r>
              <a:rPr lang="en-US" sz="2400" dirty="0"/>
              <a:t>Expiration or Expiry Date is another important component of a debit card. Generally, expiration date is often written on a card as two-digits (representing the month) followed by another two-digit (representing the year) separated by a hyphen (-) of a forward slash </a:t>
            </a:r>
            <a:r>
              <a:rPr lang="en-US" sz="2400" dirty="0" smtClean="0"/>
              <a:t>(/).</a:t>
            </a:r>
          </a:p>
          <a:p>
            <a:pPr marL="0" indent="0">
              <a:buNone/>
            </a:pPr>
            <a:endParaRPr lang="en-US" sz="2400" dirty="0"/>
          </a:p>
          <a:p>
            <a:pPr marL="0" indent="0">
              <a:buNone/>
            </a:pPr>
            <a:r>
              <a:rPr lang="en-US" sz="2400" dirty="0"/>
              <a:t>Expiration date refers to the date which a card will no longer be valid to be used for transactions. Beyond this date, a debit card will cease to be valid for any type of transactions you want to use it to perform. Before a debit card expires though, the issuing institution would have alerted the holder and prepared a new card. The new card will come with new details: new 16-digits debit card number, new CVV, and of course, new expiration date.</a:t>
            </a:r>
          </a:p>
          <a:p>
            <a:pPr marL="0" indent="0" algn="just">
              <a:lnSpc>
                <a:spcPct val="100000"/>
              </a:lnSpc>
              <a:spcBef>
                <a:spcPts val="600"/>
              </a:spcBef>
              <a:spcAft>
                <a:spcPts val="60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82BEA29C-E020-4D4B-A69F-8BA76E6A51DD}"/>
              </a:ext>
            </a:extLst>
          </p:cNvPr>
          <p:cNvSpPr>
            <a:spLocks noGrp="1"/>
          </p:cNvSpPr>
          <p:nvPr>
            <p:ph type="title"/>
          </p:nvPr>
        </p:nvSpPr>
        <p:spPr/>
        <p:txBody>
          <a:bodyPr/>
          <a:lstStyle/>
          <a:p>
            <a:r>
              <a:rPr lang="en-US" dirty="0" smtClean="0">
                <a:cs typeface="Arial" panose="020B0604020202020204" pitchFamily="34" charset="0"/>
              </a:rPr>
              <a:t>Debit Card</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7177B5D2-A79F-4EDD-9778-BC9A35F7802D}"/>
              </a:ext>
            </a:extLst>
          </p:cNvPr>
          <p:cNvSpPr>
            <a:spLocks noGrp="1"/>
          </p:cNvSpPr>
          <p:nvPr>
            <p:ph type="sldNum" sz="quarter" idx="12"/>
          </p:nvPr>
        </p:nvSpPr>
        <p:spPr/>
        <p:txBody>
          <a:bodyPr/>
          <a:lstStyle/>
          <a:p>
            <a:fld id="{C7F1B9D8-1D95-44B3-9E1C-E404196FC055}" type="slidenum">
              <a:rPr lang="hi-IN" smtClean="0"/>
              <a:t>27</a:t>
            </a:fld>
            <a:endParaRPr lang="hi-IN"/>
          </a:p>
        </p:txBody>
      </p:sp>
    </p:spTree>
    <p:extLst>
      <p:ext uri="{BB962C8B-B14F-4D97-AF65-F5344CB8AC3E}">
        <p14:creationId xmlns:p14="http://schemas.microsoft.com/office/powerpoint/2010/main" val="27632543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dirty="0" smtClean="0"/>
              <a:t>28</a:t>
            </a:fld>
            <a:endParaRPr lang="hi-IN" dirty="0"/>
          </a:p>
        </p:txBody>
      </p:sp>
    </p:spTree>
    <p:extLst>
      <p:ext uri="{BB962C8B-B14F-4D97-AF65-F5344CB8AC3E}">
        <p14:creationId xmlns:p14="http://schemas.microsoft.com/office/powerpoint/2010/main" val="2974834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4926701"/>
          </a:xfrm>
        </p:spPr>
        <p:txBody>
          <a:bodyPr vert="horz" lIns="91440" tIns="45720" rIns="91440" bIns="45720" rtlCol="0" anchor="t">
            <a:noAutofit/>
          </a:bodyPr>
          <a:lstStyle/>
          <a:p>
            <a:pPr marL="457200" indent="-457200">
              <a:lnSpc>
                <a:spcPct val="100000"/>
              </a:lnSpc>
              <a:spcBef>
                <a:spcPts val="0"/>
              </a:spcBef>
              <a:spcAft>
                <a:spcPct val="0"/>
              </a:spcAft>
              <a:buAutoNum type="arabicPeriod"/>
            </a:pPr>
            <a:r>
              <a:rPr lang="en-IN" sz="2000" b="1" dirty="0" smtClean="0">
                <a:cs typeface="Calibri"/>
              </a:rPr>
              <a:t>Retail Banking</a:t>
            </a:r>
          </a:p>
          <a:p>
            <a:pPr marL="0" indent="0">
              <a:lnSpc>
                <a:spcPct val="100000"/>
              </a:lnSpc>
              <a:spcBef>
                <a:spcPts val="0"/>
              </a:spcBef>
              <a:spcAft>
                <a:spcPct val="0"/>
              </a:spcAft>
              <a:buNone/>
            </a:pPr>
            <a:endParaRPr lang="en-IN" sz="2000" b="1" dirty="0" smtClean="0">
              <a:cs typeface="Calibri"/>
            </a:endParaRPr>
          </a:p>
          <a:p>
            <a:pPr marL="0" indent="0">
              <a:lnSpc>
                <a:spcPct val="100000"/>
              </a:lnSpc>
              <a:spcBef>
                <a:spcPts val="0"/>
              </a:spcBef>
              <a:spcAft>
                <a:spcPct val="0"/>
              </a:spcAft>
              <a:buNone/>
            </a:pPr>
            <a:r>
              <a:rPr lang="en-US" sz="2000" b="1" dirty="0">
                <a:cs typeface="Calibri"/>
              </a:rPr>
              <a:t> </a:t>
            </a:r>
            <a:r>
              <a:rPr lang="en-US" sz="2400" dirty="0"/>
              <a:t>Retail banks deal specifically with retail consumers, though some global financial services companies contain both retail and commercial banking divisions. These banks offer services to the general public and are also called personal or general banking institutions. Retail banks provide services such as checking and savings accounts, loan and mortgage services, financing for automobiles, and short-term loans like overdraft protection</a:t>
            </a:r>
            <a:r>
              <a:rPr lang="en-US" sz="2400" dirty="0" smtClean="0"/>
              <a:t>.</a:t>
            </a:r>
          </a:p>
          <a:p>
            <a:pPr marL="0" indent="0">
              <a:lnSpc>
                <a:spcPct val="100000"/>
              </a:lnSpc>
              <a:spcBef>
                <a:spcPts val="0"/>
              </a:spcBef>
              <a:spcAft>
                <a:spcPct val="0"/>
              </a:spcAft>
              <a:buNone/>
            </a:pPr>
            <a:endParaRPr lang="en-US" sz="2400" dirty="0"/>
          </a:p>
          <a:p>
            <a:pPr marL="0" indent="0">
              <a:lnSpc>
                <a:spcPct val="100000"/>
              </a:lnSpc>
              <a:spcBef>
                <a:spcPts val="0"/>
              </a:spcBef>
              <a:spcAft>
                <a:spcPct val="0"/>
              </a:spcAft>
              <a:buNone/>
            </a:pPr>
            <a:r>
              <a:rPr lang="en-US" sz="2400" dirty="0" smtClean="0"/>
              <a:t> </a:t>
            </a:r>
            <a:r>
              <a:rPr lang="en-US" sz="2400" dirty="0"/>
              <a:t>Many larger retail banks also offer credit card services to their customers, and may also supply their clients with foreign currency exchange. Larger retail banks also often cater to high-net-worth individuals, giving them specialty services such as private banking and wealth management. </a:t>
            </a:r>
            <a:endParaRPr lang="en-US" sz="24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Types of Banks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3</a:t>
            </a:fld>
            <a:endParaRPr lang="hi-IN"/>
          </a:p>
        </p:txBody>
      </p:sp>
    </p:spTree>
    <p:extLst>
      <p:ext uri="{BB962C8B-B14F-4D97-AF65-F5344CB8AC3E}">
        <p14:creationId xmlns:p14="http://schemas.microsoft.com/office/powerpoint/2010/main" val="20868612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r>
              <a:rPr lang="en-IN" sz="2000" b="1" dirty="0" smtClean="0">
                <a:cs typeface="Calibri"/>
              </a:rPr>
              <a:t>2.  Corporate Banking</a:t>
            </a:r>
          </a:p>
          <a:p>
            <a:pPr marL="0" indent="0">
              <a:lnSpc>
                <a:spcPct val="100000"/>
              </a:lnSpc>
              <a:spcBef>
                <a:spcPts val="0"/>
              </a:spcBef>
              <a:spcAft>
                <a:spcPct val="0"/>
              </a:spcAft>
              <a:buNone/>
            </a:pPr>
            <a:r>
              <a:rPr lang="en-US" sz="2000" b="1" dirty="0">
                <a:cs typeface="Calibri"/>
              </a:rPr>
              <a:t> </a:t>
            </a:r>
            <a:r>
              <a:rPr lang="en-US" sz="2400" dirty="0"/>
              <a:t>Commercial or corporate banks provide specialty services to their business clients from small business owners to large, corporate entities. Along with day-to-day business banking, these banks also provide their clients with other things such as credit services, cash management, commercial real estate services, employer services, and trade finance. </a:t>
            </a:r>
            <a:endParaRPr lang="en-US" sz="2400" dirty="0" smtClean="0"/>
          </a:p>
          <a:p>
            <a:pPr marL="0" indent="0">
              <a:lnSpc>
                <a:spcPct val="100000"/>
              </a:lnSpc>
              <a:spcBef>
                <a:spcPts val="0"/>
              </a:spcBef>
              <a:spcAft>
                <a:spcPct val="0"/>
              </a:spcAft>
              <a:buNone/>
            </a:pPr>
            <a:endParaRPr lang="en-US" sz="2400" dirty="0"/>
          </a:p>
          <a:p>
            <a:pPr marL="0" indent="0">
              <a:lnSpc>
                <a:spcPct val="100000"/>
              </a:lnSpc>
              <a:spcBef>
                <a:spcPts val="0"/>
              </a:spcBef>
              <a:spcAft>
                <a:spcPct val="0"/>
              </a:spcAft>
              <a:buNone/>
            </a:pPr>
            <a:r>
              <a:rPr lang="en-US" sz="2400" dirty="0" smtClean="0"/>
              <a:t>3. </a:t>
            </a:r>
            <a:r>
              <a:rPr lang="en-US" sz="2400" b="1" dirty="0" smtClean="0"/>
              <a:t>Investment Banks</a:t>
            </a:r>
            <a:endParaRPr lang="en-US" sz="2400" dirty="0">
              <a:cs typeface="Calibri"/>
            </a:endParaRPr>
          </a:p>
          <a:p>
            <a:pPr marL="0" indent="0">
              <a:lnSpc>
                <a:spcPct val="100000"/>
              </a:lnSpc>
              <a:spcBef>
                <a:spcPts val="0"/>
              </a:spcBef>
              <a:spcAft>
                <a:spcPct val="0"/>
              </a:spcAft>
              <a:buNone/>
            </a:pPr>
            <a:r>
              <a:rPr lang="en-US" sz="2400" dirty="0"/>
              <a:t>Investment banks focus on providing corporate clients with complex services and financial transactions such as underwriting and assisting with merger and acquisition (M&amp;A) activity. As such, they are known primarily as financial intermediaries in most of these transactions. Clients commonly range from large corporations, other financial institutions, pension funds, governments, and hedge funds. Morgan Stanley and Goldman Sachs are examples of U.S. investment banks. </a:t>
            </a:r>
            <a:endParaRPr lang="en-US" sz="2400"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Types of Banks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4</a:t>
            </a:fld>
            <a:endParaRPr lang="hi-IN"/>
          </a:p>
        </p:txBody>
      </p:sp>
    </p:spTree>
    <p:extLst>
      <p:ext uri="{BB962C8B-B14F-4D97-AF65-F5344CB8AC3E}">
        <p14:creationId xmlns:p14="http://schemas.microsoft.com/office/powerpoint/2010/main" val="16913995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r>
              <a:rPr lang="en-US" sz="2400" dirty="0">
                <a:latin typeface="Calibri" panose="020F0502020204030204" pitchFamily="34" charset="0"/>
                <a:cs typeface="Calibri" panose="020F0502020204030204" pitchFamily="34" charset="0"/>
              </a:rPr>
              <a:t>The </a:t>
            </a:r>
            <a:r>
              <a:rPr lang="en-US" sz="2400" b="1" dirty="0">
                <a:latin typeface="Calibri" panose="020F0502020204030204" pitchFamily="34" charset="0"/>
                <a:cs typeface="Calibri" panose="020F0502020204030204" pitchFamily="34" charset="0"/>
              </a:rPr>
              <a:t>Reserve Bank of India</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RBI</a:t>
            </a:r>
            <a:r>
              <a:rPr lang="en-US" sz="2400" dirty="0">
                <a:latin typeface="Calibri" panose="020F0502020204030204" pitchFamily="34" charset="0"/>
                <a:cs typeface="Calibri" panose="020F0502020204030204" pitchFamily="34" charset="0"/>
              </a:rPr>
              <a:t>) is India's central bank and regulatory body under the jurisdiction of Ministry of Finance, Government of India. It is responsible for the issue and supply of the Indian rupee and the regulation of the Indian banking </a:t>
            </a:r>
            <a:r>
              <a:rPr lang="en-US" sz="2400" dirty="0" smtClean="0">
                <a:latin typeface="Calibri" panose="020F0502020204030204" pitchFamily="34" charset="0"/>
                <a:cs typeface="Calibri" panose="020F0502020204030204" pitchFamily="34" charset="0"/>
              </a:rPr>
              <a:t>system. </a:t>
            </a:r>
            <a:r>
              <a:rPr lang="en-US" sz="2400" dirty="0">
                <a:latin typeface="Calibri" panose="020F0502020204030204" pitchFamily="34" charset="0"/>
                <a:cs typeface="Calibri" panose="020F0502020204030204" pitchFamily="34" charset="0"/>
              </a:rPr>
              <a:t>It also manages the country's main payment systems and works to promote its economic development. </a:t>
            </a:r>
            <a:endParaRPr lang="en-US" sz="2400"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The </a:t>
            </a:r>
            <a:r>
              <a:rPr lang="en-US" sz="2400" dirty="0">
                <a:latin typeface="Calibri" panose="020F0502020204030204" pitchFamily="34" charset="0"/>
                <a:cs typeface="Calibri" panose="020F0502020204030204" pitchFamily="34" charset="0"/>
              </a:rPr>
              <a:t>preamble of the Reserve Bank of India describes the basic functions of the reserve bank as</a:t>
            </a:r>
            <a:r>
              <a:rPr lang="en-US" sz="2400" dirty="0" smtClean="0">
                <a:latin typeface="Calibri" panose="020F0502020204030204" pitchFamily="34" charset="0"/>
                <a:cs typeface="Calibri" panose="020F0502020204030204" pitchFamily="34" charset="0"/>
              </a:rPr>
              <a:t>:</a:t>
            </a: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latin typeface="Calibri" panose="020F0502020204030204" pitchFamily="34" charset="0"/>
                <a:cs typeface="Calibri" panose="020F0502020204030204" pitchFamily="34" charset="0"/>
              </a:rPr>
              <a:t>    "to regulate the issue of Bank notes and keeping of reserves with a view to securing monetary stability in India and generally to operate the currency and credit system of the country to its advantage; to have a modern monetary policy framework to meet the challenge of an increasingly complex economy, to maintain price stability while keeping in mind the objective of growth."</a:t>
            </a: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Reserve Bank of India (RBI)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5</a:t>
            </a:fld>
            <a:endParaRPr lang="hi-IN"/>
          </a:p>
        </p:txBody>
      </p:sp>
    </p:spTree>
    <p:extLst>
      <p:ext uri="{BB962C8B-B14F-4D97-AF65-F5344CB8AC3E}">
        <p14:creationId xmlns:p14="http://schemas.microsoft.com/office/powerpoint/2010/main" val="3626867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Major functions of RBI are as follows:</a:t>
            </a:r>
            <a:endParaRPr lang="en-US" sz="2400" dirty="0">
              <a:latin typeface="Calibri" panose="020F0502020204030204" pitchFamily="34" charset="0"/>
              <a:cs typeface="Calibri" panose="020F0502020204030204" pitchFamily="34" charset="0"/>
            </a:endParaRPr>
          </a:p>
          <a:p>
            <a:pPr marL="457200" indent="-457200">
              <a:lnSpc>
                <a:spcPct val="100000"/>
              </a:lnSpc>
              <a:spcBef>
                <a:spcPts val="0"/>
              </a:spcBef>
              <a:spcAft>
                <a:spcPct val="0"/>
              </a:spcAft>
              <a:buAutoNum type="arabicPeriod"/>
            </a:pPr>
            <a:r>
              <a:rPr lang="en-US" sz="2400" b="1" dirty="0" smtClean="0">
                <a:latin typeface="Calibri" panose="020F0502020204030204" pitchFamily="34" charset="0"/>
                <a:cs typeface="Calibri" panose="020F0502020204030204" pitchFamily="34" charset="0"/>
              </a:rPr>
              <a:t>Issue of Bank Notes</a:t>
            </a:r>
          </a:p>
          <a:p>
            <a:pPr marL="0" indent="0">
              <a:lnSpc>
                <a:spcPct val="100000"/>
              </a:lnSpc>
              <a:spcBef>
                <a:spcPts val="0"/>
              </a:spcBef>
              <a:spcAft>
                <a:spcPct val="0"/>
              </a:spcAft>
              <a:buNone/>
            </a:pPr>
            <a:endParaRPr lang="en-US" sz="2400"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The Reserve Bank of India has the sole right to issue currency </a:t>
            </a:r>
            <a:r>
              <a:rPr lang="en-US" sz="2400" dirty="0" smtClean="0"/>
              <a:t>notes. </a:t>
            </a:r>
            <a:r>
              <a:rPr lang="en-US" sz="2400" dirty="0"/>
              <a:t>Currency notes issued by the Reserve Bank are declared unlimited legal tender throughout the </a:t>
            </a:r>
            <a:r>
              <a:rPr lang="en-US" sz="2400" dirty="0" smtClean="0"/>
              <a:t>country. This </a:t>
            </a:r>
            <a:r>
              <a:rPr lang="en-US" sz="2400" dirty="0"/>
              <a:t>concentration of notes issue function with the Reserve Bank has a number of advantages: </a:t>
            </a:r>
            <a:endParaRPr lang="en-US" sz="2400" dirty="0" smtClean="0"/>
          </a:p>
          <a:p>
            <a:pPr marL="0" indent="0">
              <a:lnSpc>
                <a:spcPct val="100000"/>
              </a:lnSpc>
              <a:spcBef>
                <a:spcPts val="0"/>
              </a:spcBef>
              <a:spcAft>
                <a:spcPct val="0"/>
              </a:spcAft>
              <a:buNone/>
            </a:pPr>
            <a:endParaRPr lang="en-US" sz="2400" dirty="0" smtClean="0"/>
          </a:p>
          <a:p>
            <a:pPr marL="514350" indent="-514350">
              <a:lnSpc>
                <a:spcPct val="100000"/>
              </a:lnSpc>
              <a:spcBef>
                <a:spcPts val="0"/>
              </a:spcBef>
              <a:spcAft>
                <a:spcPct val="0"/>
              </a:spcAft>
              <a:buAutoNum type="romanLcParenBoth"/>
            </a:pPr>
            <a:r>
              <a:rPr lang="en-US" sz="2400" dirty="0" smtClean="0"/>
              <a:t>It </a:t>
            </a:r>
            <a:r>
              <a:rPr lang="en-US" sz="2400" dirty="0"/>
              <a:t>brings uniformity in notes issue; </a:t>
            </a:r>
            <a:endParaRPr lang="en-US" sz="2400" dirty="0" smtClean="0"/>
          </a:p>
          <a:p>
            <a:pPr marL="514350" indent="-514350">
              <a:lnSpc>
                <a:spcPct val="100000"/>
              </a:lnSpc>
              <a:spcBef>
                <a:spcPts val="0"/>
              </a:spcBef>
              <a:spcAft>
                <a:spcPct val="0"/>
              </a:spcAft>
              <a:buAutoNum type="romanLcParenBoth"/>
            </a:pPr>
            <a:r>
              <a:rPr lang="en-US" sz="2400" dirty="0" smtClean="0"/>
              <a:t>It </a:t>
            </a:r>
            <a:r>
              <a:rPr lang="en-US" sz="2400" dirty="0"/>
              <a:t>makes possible effective state supervision; </a:t>
            </a:r>
            <a:endParaRPr lang="en-US" sz="2400" dirty="0" smtClean="0"/>
          </a:p>
          <a:p>
            <a:pPr marL="514350" indent="-514350">
              <a:lnSpc>
                <a:spcPct val="100000"/>
              </a:lnSpc>
              <a:spcBef>
                <a:spcPts val="0"/>
              </a:spcBef>
              <a:spcAft>
                <a:spcPct val="0"/>
              </a:spcAft>
              <a:buAutoNum type="romanLcParenBoth"/>
            </a:pPr>
            <a:r>
              <a:rPr lang="en-US" sz="2400" dirty="0" smtClean="0"/>
              <a:t>It </a:t>
            </a:r>
            <a:r>
              <a:rPr lang="en-US" sz="2400" dirty="0"/>
              <a:t>is easier to control and regulate credit in accordance with the requirements in the economy; </a:t>
            </a:r>
            <a:r>
              <a:rPr lang="en-US" sz="2400" dirty="0" smtClean="0"/>
              <a:t>and</a:t>
            </a:r>
          </a:p>
          <a:p>
            <a:pPr marL="514350" indent="-514350">
              <a:lnSpc>
                <a:spcPct val="100000"/>
              </a:lnSpc>
              <a:spcBef>
                <a:spcPts val="0"/>
              </a:spcBef>
              <a:spcAft>
                <a:spcPct val="0"/>
              </a:spcAft>
              <a:buAutoNum type="romanLcParenBoth"/>
            </a:pPr>
            <a:r>
              <a:rPr lang="en-US" sz="2400" dirty="0" smtClean="0"/>
              <a:t>It </a:t>
            </a:r>
            <a:r>
              <a:rPr lang="en-US" sz="2400" dirty="0"/>
              <a:t>keeps faith of the public in the paper currency.</a:t>
            </a:r>
            <a:endParaRPr lang="en-US" sz="2400"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Reserve Bank of India (RBI)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6</a:t>
            </a:fld>
            <a:endParaRPr lang="hi-IN"/>
          </a:p>
        </p:txBody>
      </p:sp>
    </p:spTree>
    <p:extLst>
      <p:ext uri="{BB962C8B-B14F-4D97-AF65-F5344CB8AC3E}">
        <p14:creationId xmlns:p14="http://schemas.microsoft.com/office/powerpoint/2010/main" val="16853888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2. </a:t>
            </a:r>
            <a:r>
              <a:rPr lang="en-US" sz="2400" b="1" dirty="0" smtClean="0">
                <a:latin typeface="Calibri" panose="020F0502020204030204" pitchFamily="34" charset="0"/>
                <a:cs typeface="Calibri" panose="020F0502020204030204" pitchFamily="34" charset="0"/>
              </a:rPr>
              <a:t>Banker to Government</a:t>
            </a: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As banker to the government the Reserve Bank manages the banking needs of the government. It has to-maintain and operate the government’s deposit accounts. It collects receipts of funds and makes payments on behalf of the government. It represents the Government of India as the member of the IMF and the World Bank.</a:t>
            </a:r>
            <a:endParaRPr lang="en-US" sz="2400"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endParaRPr lang="en-US" sz="2400"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3. </a:t>
            </a:r>
            <a:r>
              <a:rPr lang="en-US" sz="2400" b="1" dirty="0" smtClean="0">
                <a:latin typeface="Calibri" panose="020F0502020204030204" pitchFamily="34" charset="0"/>
                <a:cs typeface="Calibri" panose="020F0502020204030204" pitchFamily="34" charset="0"/>
              </a:rPr>
              <a:t>Custodian of Cash Reserves of Commercial Banks</a:t>
            </a:r>
          </a:p>
          <a:p>
            <a:pPr marL="0" indent="0">
              <a:lnSpc>
                <a:spcPct val="100000"/>
              </a:lnSpc>
              <a:spcBef>
                <a:spcPts val="0"/>
              </a:spcBef>
              <a:spcAft>
                <a:spcPct val="0"/>
              </a:spcAft>
              <a:buNone/>
            </a:pPr>
            <a:endParaRPr lang="en-US" sz="2400"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The commercial banks hold deposits in the Reserve Bank and the latter has the custody of the cash reserves of the commercial banks.</a:t>
            </a:r>
            <a:endParaRPr lang="en-US" sz="2400"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Reserve Bank of India (RBI)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7</a:t>
            </a:fld>
            <a:endParaRPr lang="hi-IN"/>
          </a:p>
        </p:txBody>
      </p:sp>
    </p:spTree>
    <p:extLst>
      <p:ext uri="{BB962C8B-B14F-4D97-AF65-F5344CB8AC3E}">
        <p14:creationId xmlns:p14="http://schemas.microsoft.com/office/powerpoint/2010/main" val="4265704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4. </a:t>
            </a:r>
            <a:r>
              <a:rPr lang="en-US" sz="2400" b="1" dirty="0" smtClean="0">
                <a:latin typeface="Calibri" panose="020F0502020204030204" pitchFamily="34" charset="0"/>
                <a:cs typeface="Calibri" panose="020F0502020204030204" pitchFamily="34" charset="0"/>
              </a:rPr>
              <a:t>Custodian of Country’s Foreign Currency Reserves </a:t>
            </a:r>
          </a:p>
          <a:p>
            <a:pPr marL="0" indent="0">
              <a:lnSpc>
                <a:spcPct val="100000"/>
              </a:lnSpc>
              <a:spcBef>
                <a:spcPts val="0"/>
              </a:spcBef>
              <a:spcAft>
                <a:spcPct val="0"/>
              </a:spcAft>
              <a:buNone/>
            </a:pPr>
            <a:endParaRPr lang="en-US" sz="2400" b="1"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The Reserve Bank has the custody of the country’s reserves of international currency, and this enables the Reserve Bank to deal with crisis connected with adverse balance of payments position</a:t>
            </a:r>
            <a:r>
              <a:rPr lang="en-US" sz="2400" dirty="0" smtClean="0"/>
              <a:t>.</a:t>
            </a:r>
          </a:p>
          <a:p>
            <a:pPr marL="0" indent="0">
              <a:lnSpc>
                <a:spcPct val="100000"/>
              </a:lnSpc>
              <a:spcBef>
                <a:spcPts val="0"/>
              </a:spcBef>
              <a:spcAft>
                <a:spcPct val="0"/>
              </a:spcAft>
              <a:buNone/>
            </a:pPr>
            <a:endParaRPr lang="en-US" sz="2400" b="1"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5. </a:t>
            </a:r>
            <a:r>
              <a:rPr lang="en-US" sz="2400" b="1" dirty="0" smtClean="0">
                <a:latin typeface="Calibri" panose="020F0502020204030204" pitchFamily="34" charset="0"/>
                <a:cs typeface="Calibri" panose="020F0502020204030204" pitchFamily="34" charset="0"/>
              </a:rPr>
              <a:t>Lender of Last Resort</a:t>
            </a:r>
          </a:p>
          <a:p>
            <a:pPr marL="0" indent="0">
              <a:lnSpc>
                <a:spcPct val="100000"/>
              </a:lnSpc>
              <a:spcBef>
                <a:spcPts val="0"/>
              </a:spcBef>
              <a:spcAft>
                <a:spcPct val="0"/>
              </a:spcAft>
              <a:buNone/>
            </a:pPr>
            <a:endParaRPr lang="en-US" sz="2400" b="1"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The commercial banks approach the Reserve Bank in times of emergency to tide over financial difficulties, and the Reserve bank comes to their rescue though it might charge a higher rate of interest.</a:t>
            </a:r>
            <a:endParaRPr lang="en-US" sz="2400" b="1" dirty="0" smtClean="0">
              <a:latin typeface="Calibri" panose="020F0502020204030204" pitchFamily="34" charset="0"/>
              <a:cs typeface="Calibri" panose="020F0502020204030204" pitchFamily="34" charset="0"/>
            </a:endParaRPr>
          </a:p>
          <a:p>
            <a:pPr marL="457200" indent="-457200">
              <a:lnSpc>
                <a:spcPct val="100000"/>
              </a:lnSpc>
              <a:spcBef>
                <a:spcPts val="0"/>
              </a:spcBef>
              <a:spcAft>
                <a:spcPct val="0"/>
              </a:spcAft>
              <a:buAutoNum type="alphaLcParenR"/>
            </a:pPr>
            <a:r>
              <a:rPr lang="en-US" sz="2400" dirty="0" smtClean="0">
                <a:latin typeface="Calibri" panose="020F0502020204030204" pitchFamily="34" charset="0"/>
                <a:cs typeface="Calibri" panose="020F0502020204030204" pitchFamily="34" charset="0"/>
              </a:rPr>
              <a:t>Central Clearance and Account Settlement</a:t>
            </a:r>
          </a:p>
          <a:p>
            <a:pPr marL="457200" indent="-457200">
              <a:lnSpc>
                <a:spcPct val="100000"/>
              </a:lnSpc>
              <a:spcBef>
                <a:spcPts val="0"/>
              </a:spcBef>
              <a:spcAft>
                <a:spcPct val="0"/>
              </a:spcAft>
              <a:buAutoNum type="alphaLcParenR"/>
            </a:pPr>
            <a:r>
              <a:rPr lang="en-US" sz="2400" dirty="0" smtClean="0">
                <a:latin typeface="Calibri" panose="020F0502020204030204" pitchFamily="34" charset="0"/>
                <a:cs typeface="Calibri" panose="020F0502020204030204" pitchFamily="34" charset="0"/>
              </a:rPr>
              <a:t>Controller of Credit</a:t>
            </a: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Reserve Bank of India (RBI)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8</a:t>
            </a:fld>
            <a:endParaRPr lang="hi-IN"/>
          </a:p>
        </p:txBody>
      </p:sp>
    </p:spTree>
    <p:extLst>
      <p:ext uri="{BB962C8B-B14F-4D97-AF65-F5344CB8AC3E}">
        <p14:creationId xmlns:p14="http://schemas.microsoft.com/office/powerpoint/2010/main" val="33626244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207399"/>
            <a:ext cx="10843027" cy="5193401"/>
          </a:xfrm>
        </p:spPr>
        <p:txBody>
          <a:bodyPr vert="horz" lIns="91440" tIns="45720" rIns="91440" bIns="45720" rtlCol="0" anchor="t">
            <a:noAutofit/>
          </a:bodyPr>
          <a:lstStyle/>
          <a:p>
            <a:pPr marL="0" indent="0">
              <a:lnSpc>
                <a:spcPct val="100000"/>
              </a:lnSpc>
              <a:spcBef>
                <a:spcPts val="0"/>
              </a:spcBef>
              <a:spcAft>
                <a:spcPct val="0"/>
              </a:spcAft>
              <a:buNone/>
            </a:pPr>
            <a:r>
              <a:rPr lang="en-US" sz="2400" dirty="0" smtClean="0">
                <a:latin typeface="Calibri" panose="020F0502020204030204" pitchFamily="34" charset="0"/>
                <a:cs typeface="Calibri" panose="020F0502020204030204" pitchFamily="34" charset="0"/>
              </a:rPr>
              <a:t>6. </a:t>
            </a:r>
            <a:r>
              <a:rPr lang="en-US" sz="2400" b="1" dirty="0" smtClean="0">
                <a:latin typeface="Calibri" panose="020F0502020204030204" pitchFamily="34" charset="0"/>
                <a:cs typeface="Calibri" panose="020F0502020204030204" pitchFamily="34" charset="0"/>
              </a:rPr>
              <a:t>Central Clearance and Account Settlement</a:t>
            </a:r>
          </a:p>
          <a:p>
            <a:pPr marL="0" indent="0">
              <a:lnSpc>
                <a:spcPct val="100000"/>
              </a:lnSpc>
              <a:spcBef>
                <a:spcPts val="0"/>
              </a:spcBef>
              <a:spcAft>
                <a:spcPct val="0"/>
              </a:spcAft>
              <a:buNone/>
            </a:pPr>
            <a:endParaRPr lang="en-US" sz="2400" b="1"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Since commercial banks have their surplus cash reserves deposited in the Reserve Bank, it is easier to deal with each other and settle the claim of each on the other through book keeping entries in the books of the Reserve Bank. The clearing of accounts has now become an essential function of the Reserve Bank</a:t>
            </a:r>
            <a:r>
              <a:rPr lang="en-US" sz="2400" dirty="0" smtClean="0"/>
              <a:t>.</a:t>
            </a:r>
          </a:p>
          <a:p>
            <a:pPr marL="0" indent="0">
              <a:lnSpc>
                <a:spcPct val="100000"/>
              </a:lnSpc>
              <a:spcBef>
                <a:spcPts val="0"/>
              </a:spcBef>
              <a:spcAft>
                <a:spcPct val="0"/>
              </a:spcAft>
              <a:buNone/>
            </a:pPr>
            <a:endParaRPr lang="en-US" sz="2400" b="1"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b="1" dirty="0" smtClean="0">
                <a:latin typeface="Calibri" panose="020F0502020204030204" pitchFamily="34" charset="0"/>
                <a:cs typeface="Calibri" panose="020F0502020204030204" pitchFamily="34" charset="0"/>
              </a:rPr>
              <a:t>7. Controller of Credit</a:t>
            </a:r>
          </a:p>
          <a:p>
            <a:pPr marL="0" indent="0">
              <a:lnSpc>
                <a:spcPct val="100000"/>
              </a:lnSpc>
              <a:spcBef>
                <a:spcPts val="0"/>
              </a:spcBef>
              <a:spcAft>
                <a:spcPct val="0"/>
              </a:spcAft>
              <a:buNone/>
            </a:pPr>
            <a:endParaRPr lang="en-US" sz="2400" b="1" dirty="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r>
              <a:rPr lang="en-US" sz="2400" dirty="0"/>
              <a:t>Since credit money forms the most important part of supply of money, and since the supply of money has important implications for economic stability, the importance of control of credit becomes obvious. Credit is controlled by the Reserve Bank in accordance with the economic priorities of the government.</a:t>
            </a:r>
            <a:endParaRPr lang="en-US" sz="2400" b="1" dirty="0" smtClean="0">
              <a:latin typeface="Calibri" panose="020F0502020204030204" pitchFamily="34" charset="0"/>
              <a:cs typeface="Calibri" panose="020F0502020204030204" pitchFamily="34" charset="0"/>
            </a:endParaRPr>
          </a:p>
          <a:p>
            <a:pPr marL="0" indent="0">
              <a:lnSpc>
                <a:spcPct val="100000"/>
              </a:lnSpc>
              <a:spcBef>
                <a:spcPts val="0"/>
              </a:spcBef>
              <a:spcAft>
                <a:spcPct val="0"/>
              </a:spcAft>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IN" dirty="0" smtClean="0">
                <a:cs typeface="Arial" panose="020B0604020202020204" pitchFamily="34" charset="0"/>
              </a:rPr>
              <a:t>Reserve Bank of India (RBI)	</a:t>
            </a:r>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9</a:t>
            </a:fld>
            <a:endParaRPr lang="hi-IN"/>
          </a:p>
        </p:txBody>
      </p:sp>
    </p:spTree>
    <p:extLst>
      <p:ext uri="{BB962C8B-B14F-4D97-AF65-F5344CB8AC3E}">
        <p14:creationId xmlns:p14="http://schemas.microsoft.com/office/powerpoint/2010/main" val="2858665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708D10-FDC1-43B2-8E2B-EEBF99C8512A}"/>
</file>

<file path=customXml/itemProps2.xml><?xml version="1.0" encoding="utf-8"?>
<ds:datastoreItem xmlns:ds="http://schemas.openxmlformats.org/officeDocument/2006/customXml" ds:itemID="{AB169CC8-80FE-4118-B027-D1AF5F8E2869}">
  <ds:schemaRefs>
    <ds:schemaRef ds:uri="http://schemas.microsoft.com/office/2006/metadata/properties"/>
    <ds:schemaRef ds:uri="http://schemas.microsoft.com/office/infopath/2007/PartnerControls"/>
    <ds:schemaRef ds:uri="73ccf96c-108d-4577-ba4d-411881d9b273"/>
    <ds:schemaRef ds:uri="http://schemas.microsoft.com/sharepoint/v3/fields"/>
  </ds:schemaRefs>
</ds:datastoreItem>
</file>

<file path=customXml/itemProps3.xml><?xml version="1.0" encoding="utf-8"?>
<ds:datastoreItem xmlns:ds="http://schemas.openxmlformats.org/officeDocument/2006/customXml" ds:itemID="{AA01FEC7-C60C-48B4-9BF7-7FBC3BD4615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903</TotalTime>
  <Words>2220</Words>
  <Application>Microsoft Office PowerPoint</Application>
  <PresentationFormat>Widescreen</PresentationFormat>
  <Paragraphs>201</Paragraphs>
  <Slides>28</Slides>
  <Notes>0</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28</vt:i4>
      </vt:variant>
    </vt:vector>
  </HeadingPairs>
  <TitlesOfParts>
    <vt:vector size="41" baseType="lpstr">
      <vt:lpstr>MS PGothic</vt:lpstr>
      <vt:lpstr>MS PGothic</vt:lpstr>
      <vt:lpstr>Arial</vt:lpstr>
      <vt:lpstr>Calibri</vt:lpstr>
      <vt:lpstr>Calibri Light</vt:lpstr>
      <vt:lpstr>Century Gothic</vt:lpstr>
      <vt:lpstr>COUTURE Bold</vt:lpstr>
      <vt:lpstr>Lucida Grande</vt:lpstr>
      <vt:lpstr>Mangal</vt:lpstr>
      <vt:lpstr>Symbol</vt:lpstr>
      <vt:lpstr>Wingdings</vt:lpstr>
      <vt:lpstr>Office Theme</vt:lpstr>
      <vt:lpstr>Maveric Template</vt:lpstr>
      <vt:lpstr>  Overview of Banking </vt:lpstr>
      <vt:lpstr>What is a Bank </vt:lpstr>
      <vt:lpstr>Types of Banks </vt:lpstr>
      <vt:lpstr>Types of Banks </vt:lpstr>
      <vt:lpstr>Reserve Bank of India (RBI) </vt:lpstr>
      <vt:lpstr>Reserve Bank of India (RBI) </vt:lpstr>
      <vt:lpstr>Reserve Bank of India (RBI) </vt:lpstr>
      <vt:lpstr>Reserve Bank of India (RBI) </vt:lpstr>
      <vt:lpstr>Reserve Bank of India (RBI) </vt:lpstr>
      <vt:lpstr>Reserve / Central Bank in Other Countries </vt:lpstr>
      <vt:lpstr>Banking Scenario in India</vt:lpstr>
      <vt:lpstr>Core Banking System</vt:lpstr>
      <vt:lpstr>Key Factors of Core Banking System</vt:lpstr>
      <vt:lpstr>Core Banking Software Companies</vt:lpstr>
      <vt:lpstr>PowerPoint Presentation</vt:lpstr>
      <vt:lpstr>PowerPoint Presentation</vt:lpstr>
      <vt:lpstr>PowerPoint Presentation</vt:lpstr>
      <vt:lpstr>PowerPoint Presentation</vt:lpstr>
      <vt:lpstr>Automated Teller Machine</vt:lpstr>
      <vt:lpstr>Features of Automated Teller Machine (ATM)</vt:lpstr>
      <vt:lpstr>Phone Banking</vt:lpstr>
      <vt:lpstr>Features of Phone Banking</vt:lpstr>
      <vt:lpstr>Online Banking</vt:lpstr>
      <vt:lpstr>Features of Online Banking</vt:lpstr>
      <vt:lpstr>Features of Online Banking</vt:lpstr>
      <vt:lpstr>Debit Card</vt:lpstr>
      <vt:lpstr>Debit Car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2238</cp:revision>
  <dcterms:created xsi:type="dcterms:W3CDTF">2020-06-11T10:29:00Z</dcterms:created>
  <dcterms:modified xsi:type="dcterms:W3CDTF">2021-07-27T04:5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38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